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1.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Override2.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Override3.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Override4.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Override5.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6.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Override7.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8.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2.xml" ContentType="application/vnd.openxmlformats-officedocument.them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heme/themeOverride9.xml" ContentType="application/vnd.openxmlformats-officedocument.themeOverr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Override10.xml" ContentType="application/vnd.openxmlformats-officedocument.themeOverr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heme/themeOverride11.xml" ContentType="application/vnd.openxmlformats-officedocument.themeOverr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heme/themeOverride12.xml" ContentType="application/vnd.openxmlformats-officedocument.themeOverr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Override13.xml" ContentType="application/vnd.openxmlformats-officedocument.themeOverr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Override14.xml" ContentType="application/vnd.openxmlformats-officedocument.themeOverr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heme/themeOverride15.xml" ContentType="application/vnd.openxmlformats-officedocument.themeOverr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Override16.xml" ContentType="application/vnd.openxmlformats-officedocument.themeOverr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2.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3.xml" ContentType="application/vnd.openxmlformats-officedocument.presentationml.notesSlide+xml"/>
  <Override PartName="/ppt/tags/tag325.xml" ContentType="application/vnd.openxmlformats-officedocument.presentationml.tags+xml"/>
  <Override PartName="/ppt/notesSlides/notesSlide4.xml" ContentType="application/vnd.openxmlformats-officedocument.presentationml.notesSlide+xml"/>
  <Override PartName="/ppt/tags/tag326.xml" ContentType="application/vnd.openxmlformats-officedocument.presentationml.tags+xml"/>
  <Override PartName="/ppt/notesSlides/notesSlide5.xml" ContentType="application/vnd.openxmlformats-officedocument.presentationml.notesSlide+xml"/>
  <Override PartName="/ppt/tags/tag327.xml" ContentType="application/vnd.openxmlformats-officedocument.presentationml.tags+xml"/>
  <Override PartName="/ppt/notesSlides/notesSlide6.xml" ContentType="application/vnd.openxmlformats-officedocument.presentationml.notesSlide+xml"/>
  <Override PartName="/ppt/tags/tag328.xml" ContentType="application/vnd.openxmlformats-officedocument.presentationml.tags+xml"/>
  <Override PartName="/ppt/notesSlides/notesSlide7.xml" ContentType="application/vnd.openxmlformats-officedocument.presentationml.notesSlide+xml"/>
  <Override PartName="/ppt/tags/tag32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bookmarkIdSeed="2">
  <p:sldMasterIdLst>
    <p:sldMasterId id="2147485117" r:id="rId4"/>
    <p:sldMasterId id="2147485196" r:id="rId5"/>
  </p:sldMasterIdLst>
  <p:notesMasterIdLst>
    <p:notesMasterId r:id="rId22"/>
  </p:notesMasterIdLst>
  <p:handoutMasterIdLst>
    <p:handoutMasterId r:id="rId23"/>
  </p:handoutMasterIdLst>
  <p:sldIdLst>
    <p:sldId id="2147471847" r:id="rId6"/>
    <p:sldId id="2147472284" r:id="rId7"/>
    <p:sldId id="2147471785" r:id="rId8"/>
    <p:sldId id="2147471786" r:id="rId9"/>
    <p:sldId id="2147472285" r:id="rId10"/>
    <p:sldId id="2147471789" r:id="rId11"/>
    <p:sldId id="2147472282" r:id="rId12"/>
    <p:sldId id="2147471787" r:id="rId13"/>
    <p:sldId id="2147471713" r:id="rId14"/>
    <p:sldId id="2147471794" r:id="rId15"/>
    <p:sldId id="2147472283" r:id="rId16"/>
    <p:sldId id="2147471670" r:id="rId17"/>
    <p:sldId id="2147471793" r:id="rId18"/>
    <p:sldId id="2147471791" r:id="rId19"/>
    <p:sldId id="366" r:id="rId20"/>
    <p:sldId id="2147471795"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4484"/>
    <a:srgbClr val="FE48F1"/>
    <a:srgbClr val="40FEFE"/>
    <a:srgbClr val="295E7E"/>
    <a:srgbClr val="30C1D7"/>
    <a:srgbClr val="3EAD92"/>
    <a:srgbClr val="0F243E"/>
    <a:srgbClr val="245795"/>
    <a:srgbClr val="0A3161"/>
    <a:srgbClr val="4A6E9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29" autoAdjust="0"/>
    <p:restoredTop sz="94584" autoAdjust="0"/>
  </p:normalViewPr>
  <p:slideViewPr>
    <p:cSldViewPr snapToGrid="0">
      <p:cViewPr varScale="1">
        <p:scale>
          <a:sx n="73" d="100"/>
          <a:sy n="73" d="100"/>
        </p:scale>
        <p:origin x="216" y="67"/>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16/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5/16/2022</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a:t>
            </a:fld>
            <a:endParaRPr lang="en-US" dirty="0"/>
          </a:p>
        </p:txBody>
      </p:sp>
    </p:spTree>
    <p:extLst>
      <p:ext uri="{BB962C8B-B14F-4D97-AF65-F5344CB8AC3E}">
        <p14:creationId xmlns:p14="http://schemas.microsoft.com/office/powerpoint/2010/main" val="40973971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76206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2131395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304892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4179832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6</a:t>
            </a:fld>
            <a:endParaRPr lang="en-US" dirty="0"/>
          </a:p>
        </p:txBody>
      </p:sp>
    </p:spTree>
    <p:extLst>
      <p:ext uri="{BB962C8B-B14F-4D97-AF65-F5344CB8AC3E}">
        <p14:creationId xmlns:p14="http://schemas.microsoft.com/office/powerpoint/2010/main" val="3888965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2702421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a:t>
            </a:fld>
            <a:endParaRPr lang="en-US" dirty="0"/>
          </a:p>
        </p:txBody>
      </p:sp>
    </p:spTree>
    <p:extLst>
      <p:ext uri="{BB962C8B-B14F-4D97-AF65-F5344CB8AC3E}">
        <p14:creationId xmlns:p14="http://schemas.microsoft.com/office/powerpoint/2010/main" val="670616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579438"/>
            <a:ext cx="6672262" cy="3752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4129844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623778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7</a:t>
            </a:fld>
            <a:endParaRPr lang="en-US" dirty="0"/>
          </a:p>
        </p:txBody>
      </p:sp>
    </p:spTree>
    <p:extLst>
      <p:ext uri="{BB962C8B-B14F-4D97-AF65-F5344CB8AC3E}">
        <p14:creationId xmlns:p14="http://schemas.microsoft.com/office/powerpoint/2010/main" val="3299095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8</a:t>
            </a:fld>
            <a:endParaRPr lang="en-US" dirty="0"/>
          </a:p>
        </p:txBody>
      </p:sp>
    </p:spTree>
    <p:extLst>
      <p:ext uri="{BB962C8B-B14F-4D97-AF65-F5344CB8AC3E}">
        <p14:creationId xmlns:p14="http://schemas.microsoft.com/office/powerpoint/2010/main" val="490860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1488" y="727075"/>
            <a:ext cx="6448425" cy="36274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5113608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6585822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5.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1.xml"/><Relationship Id="rId7" Type="http://schemas.openxmlformats.org/officeDocument/2006/relationships/image" Target="../media/image8.png"/><Relationship Id="rId2" Type="http://schemas.openxmlformats.org/officeDocument/2006/relationships/tags" Target="../tags/tag200.xml"/><Relationship Id="rId1" Type="http://schemas.openxmlformats.org/officeDocument/2006/relationships/vmlDrawing" Target="../drawings/vmlDrawing94.vml"/><Relationship Id="rId6" Type="http://schemas.openxmlformats.org/officeDocument/2006/relationships/image" Target="../media/image6.emf"/><Relationship Id="rId5" Type="http://schemas.openxmlformats.org/officeDocument/2006/relationships/oleObject" Target="../embeddings/oleObject94.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3.xml"/><Relationship Id="rId7" Type="http://schemas.openxmlformats.org/officeDocument/2006/relationships/image" Target="../media/image9.png"/><Relationship Id="rId2" Type="http://schemas.openxmlformats.org/officeDocument/2006/relationships/tags" Target="../tags/tag202.xml"/><Relationship Id="rId1" Type="http://schemas.openxmlformats.org/officeDocument/2006/relationships/vmlDrawing" Target="../drawings/vmlDrawing95.vml"/><Relationship Id="rId6" Type="http://schemas.openxmlformats.org/officeDocument/2006/relationships/image" Target="../media/image6.emf"/><Relationship Id="rId5" Type="http://schemas.openxmlformats.org/officeDocument/2006/relationships/oleObject" Target="../embeddings/oleObject95.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04.xml"/><Relationship Id="rId7" Type="http://schemas.openxmlformats.org/officeDocument/2006/relationships/image" Target="../media/image6.emf"/><Relationship Id="rId2" Type="http://schemas.openxmlformats.org/officeDocument/2006/relationships/vmlDrawing" Target="../drawings/vmlDrawing96.vml"/><Relationship Id="rId1" Type="http://schemas.openxmlformats.org/officeDocument/2006/relationships/themeOverride" Target="../theme/themeOverride10.xml"/><Relationship Id="rId6" Type="http://schemas.openxmlformats.org/officeDocument/2006/relationships/oleObject" Target="../embeddings/oleObject96.bin"/><Relationship Id="rId11" Type="http://schemas.openxmlformats.org/officeDocument/2006/relationships/image" Target="../media/image5.png"/><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05.xml"/><Relationship Id="rId9" Type="http://schemas.openxmlformats.org/officeDocument/2006/relationships/image" Target="../media/image7.png"/></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7.xml"/><Relationship Id="rId7" Type="http://schemas.openxmlformats.org/officeDocument/2006/relationships/image" Target="../media/image12.png"/><Relationship Id="rId2" Type="http://schemas.openxmlformats.org/officeDocument/2006/relationships/tags" Target="../tags/tag206.xml"/><Relationship Id="rId1" Type="http://schemas.openxmlformats.org/officeDocument/2006/relationships/vmlDrawing" Target="../drawings/vmlDrawing97.vml"/><Relationship Id="rId6" Type="http://schemas.openxmlformats.org/officeDocument/2006/relationships/image" Target="../media/image11.emf"/><Relationship Id="rId5" Type="http://schemas.openxmlformats.org/officeDocument/2006/relationships/oleObject" Target="../embeddings/oleObject97.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8.xml"/><Relationship Id="rId7" Type="http://schemas.openxmlformats.org/officeDocument/2006/relationships/image" Target="../media/image6.emf"/><Relationship Id="rId2" Type="http://schemas.openxmlformats.org/officeDocument/2006/relationships/vmlDrawing" Target="../drawings/vmlDrawing98.vml"/><Relationship Id="rId1" Type="http://schemas.openxmlformats.org/officeDocument/2006/relationships/themeOverride" Target="../theme/themeOverride11.xml"/><Relationship Id="rId6" Type="http://schemas.openxmlformats.org/officeDocument/2006/relationships/oleObject" Target="../embeddings/oleObject98.bin"/><Relationship Id="rId11" Type="http://schemas.openxmlformats.org/officeDocument/2006/relationships/image" Target="../media/image5.png"/><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09.xml"/><Relationship Id="rId9" Type="http://schemas.openxmlformats.org/officeDocument/2006/relationships/image" Target="../media/image7.pn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1.xml"/><Relationship Id="rId7" Type="http://schemas.openxmlformats.org/officeDocument/2006/relationships/image" Target="../media/image9.png"/><Relationship Id="rId2" Type="http://schemas.openxmlformats.org/officeDocument/2006/relationships/tags" Target="../tags/tag210.xml"/><Relationship Id="rId1" Type="http://schemas.openxmlformats.org/officeDocument/2006/relationships/vmlDrawing" Target="../drawings/vmlDrawing99.vml"/><Relationship Id="rId6" Type="http://schemas.openxmlformats.org/officeDocument/2006/relationships/image" Target="../media/image6.emf"/><Relationship Id="rId5" Type="http://schemas.openxmlformats.org/officeDocument/2006/relationships/oleObject" Target="../embeddings/oleObject99.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12.xml"/><Relationship Id="rId7" Type="http://schemas.openxmlformats.org/officeDocument/2006/relationships/image" Target="../media/image6.emf"/><Relationship Id="rId2" Type="http://schemas.openxmlformats.org/officeDocument/2006/relationships/vmlDrawing" Target="../drawings/vmlDrawing100.vml"/><Relationship Id="rId1" Type="http://schemas.openxmlformats.org/officeDocument/2006/relationships/themeOverride" Target="../theme/themeOverride12.xml"/><Relationship Id="rId6" Type="http://schemas.openxmlformats.org/officeDocument/2006/relationships/oleObject" Target="../embeddings/oleObject100.bin"/><Relationship Id="rId11" Type="http://schemas.openxmlformats.org/officeDocument/2006/relationships/image" Target="../media/image5.png"/><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13.xml"/><Relationship Id="rId9" Type="http://schemas.openxmlformats.org/officeDocument/2006/relationships/image" Target="../media/image7.pn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5.xml"/><Relationship Id="rId7" Type="http://schemas.openxmlformats.org/officeDocument/2006/relationships/image" Target="../media/image9.png"/><Relationship Id="rId2" Type="http://schemas.openxmlformats.org/officeDocument/2006/relationships/tags" Target="../tags/tag214.xml"/><Relationship Id="rId1" Type="http://schemas.openxmlformats.org/officeDocument/2006/relationships/vmlDrawing" Target="../drawings/vmlDrawing101.vml"/><Relationship Id="rId6" Type="http://schemas.openxmlformats.org/officeDocument/2006/relationships/image" Target="../media/image6.emf"/><Relationship Id="rId5" Type="http://schemas.openxmlformats.org/officeDocument/2006/relationships/oleObject" Target="../embeddings/oleObject101.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16.xml"/><Relationship Id="rId7" Type="http://schemas.openxmlformats.org/officeDocument/2006/relationships/image" Target="../media/image6.emf"/><Relationship Id="rId2" Type="http://schemas.openxmlformats.org/officeDocument/2006/relationships/vmlDrawing" Target="../drawings/vmlDrawing102.vml"/><Relationship Id="rId1" Type="http://schemas.openxmlformats.org/officeDocument/2006/relationships/themeOverride" Target="../theme/themeOverride13.xml"/><Relationship Id="rId6" Type="http://schemas.openxmlformats.org/officeDocument/2006/relationships/oleObject" Target="../embeddings/oleObject102.bin"/><Relationship Id="rId11" Type="http://schemas.openxmlformats.org/officeDocument/2006/relationships/image" Target="../media/image5.png"/><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17.xml"/><Relationship Id="rId9" Type="http://schemas.openxmlformats.org/officeDocument/2006/relationships/image" Target="../media/image7.pn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9.xml"/><Relationship Id="rId7" Type="http://schemas.openxmlformats.org/officeDocument/2006/relationships/image" Target="../media/image7.png"/><Relationship Id="rId2" Type="http://schemas.openxmlformats.org/officeDocument/2006/relationships/tags" Target="../tags/tag218.xml"/><Relationship Id="rId1" Type="http://schemas.openxmlformats.org/officeDocument/2006/relationships/vmlDrawing" Target="../drawings/vmlDrawing103.vml"/><Relationship Id="rId6" Type="http://schemas.openxmlformats.org/officeDocument/2006/relationships/image" Target="../media/image6.emf"/><Relationship Id="rId5" Type="http://schemas.openxmlformats.org/officeDocument/2006/relationships/oleObject" Target="../embeddings/oleObject103.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0.xml"/><Relationship Id="rId7" Type="http://schemas.openxmlformats.org/officeDocument/2006/relationships/image" Target="../media/image6.emf"/><Relationship Id="rId2" Type="http://schemas.openxmlformats.org/officeDocument/2006/relationships/vmlDrawing" Target="../drawings/vmlDrawing104.vml"/><Relationship Id="rId1" Type="http://schemas.openxmlformats.org/officeDocument/2006/relationships/themeOverride" Target="../theme/themeOverride14.xml"/><Relationship Id="rId6" Type="http://schemas.openxmlformats.org/officeDocument/2006/relationships/oleObject" Target="../embeddings/oleObject104.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221.xml"/><Relationship Id="rId9" Type="http://schemas.openxmlformats.org/officeDocument/2006/relationships/image" Target="../media/image4.png"/></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3.xml"/><Relationship Id="rId7" Type="http://schemas.openxmlformats.org/officeDocument/2006/relationships/image" Target="../media/image15.png"/><Relationship Id="rId2" Type="http://schemas.openxmlformats.org/officeDocument/2006/relationships/tags" Target="../tags/tag222.xml"/><Relationship Id="rId1" Type="http://schemas.openxmlformats.org/officeDocument/2006/relationships/vmlDrawing" Target="../drawings/vmlDrawing105.vml"/><Relationship Id="rId6" Type="http://schemas.openxmlformats.org/officeDocument/2006/relationships/image" Target="../media/image11.emf"/><Relationship Id="rId5" Type="http://schemas.openxmlformats.org/officeDocument/2006/relationships/oleObject" Target="../embeddings/oleObject105.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5.xml"/><Relationship Id="rId7" Type="http://schemas.openxmlformats.org/officeDocument/2006/relationships/image" Target="../media/image7.png"/><Relationship Id="rId2" Type="http://schemas.openxmlformats.org/officeDocument/2006/relationships/tags" Target="../tags/tag224.xml"/><Relationship Id="rId1" Type="http://schemas.openxmlformats.org/officeDocument/2006/relationships/vmlDrawing" Target="../drawings/vmlDrawing106.vml"/><Relationship Id="rId6" Type="http://schemas.openxmlformats.org/officeDocument/2006/relationships/image" Target="../media/image6.emf"/><Relationship Id="rId5" Type="http://schemas.openxmlformats.org/officeDocument/2006/relationships/oleObject" Target="../embeddings/oleObject106.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6.xml"/><Relationship Id="rId7" Type="http://schemas.openxmlformats.org/officeDocument/2006/relationships/image" Target="../media/image6.emf"/><Relationship Id="rId2" Type="http://schemas.openxmlformats.org/officeDocument/2006/relationships/vmlDrawing" Target="../drawings/vmlDrawing107.vml"/><Relationship Id="rId1" Type="http://schemas.openxmlformats.org/officeDocument/2006/relationships/themeOverride" Target="../theme/themeOverride15.xml"/><Relationship Id="rId6" Type="http://schemas.openxmlformats.org/officeDocument/2006/relationships/oleObject" Target="../embeddings/oleObject107.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227.xml"/><Relationship Id="rId9" Type="http://schemas.openxmlformats.org/officeDocument/2006/relationships/image" Target="../media/image4.png"/></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9.xml"/><Relationship Id="rId7" Type="http://schemas.openxmlformats.org/officeDocument/2006/relationships/image" Target="../media/image7.png"/><Relationship Id="rId2" Type="http://schemas.openxmlformats.org/officeDocument/2006/relationships/tags" Target="../tags/tag228.xml"/><Relationship Id="rId1" Type="http://schemas.openxmlformats.org/officeDocument/2006/relationships/vmlDrawing" Target="../drawings/vmlDrawing108.vml"/><Relationship Id="rId6" Type="http://schemas.openxmlformats.org/officeDocument/2006/relationships/image" Target="../media/image6.emf"/><Relationship Id="rId5" Type="http://schemas.openxmlformats.org/officeDocument/2006/relationships/oleObject" Target="../embeddings/oleObject108.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30.xml"/><Relationship Id="rId7" Type="http://schemas.openxmlformats.org/officeDocument/2006/relationships/image" Target="../media/image6.emf"/><Relationship Id="rId2" Type="http://schemas.openxmlformats.org/officeDocument/2006/relationships/vmlDrawing" Target="../drawings/vmlDrawing109.vml"/><Relationship Id="rId1" Type="http://schemas.openxmlformats.org/officeDocument/2006/relationships/themeOverride" Target="../theme/themeOverride16.xml"/><Relationship Id="rId6" Type="http://schemas.openxmlformats.org/officeDocument/2006/relationships/oleObject" Target="../embeddings/oleObject109.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231.xml"/><Relationship Id="rId9" Type="http://schemas.openxmlformats.org/officeDocument/2006/relationships/image" Target="../media/image4.png"/></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3.xml"/><Relationship Id="rId7" Type="http://schemas.openxmlformats.org/officeDocument/2006/relationships/image" Target="../media/image3.png"/><Relationship Id="rId2" Type="http://schemas.openxmlformats.org/officeDocument/2006/relationships/tags" Target="../tags/tag232.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111.vml"/><Relationship Id="rId6" Type="http://schemas.openxmlformats.org/officeDocument/2006/relationships/image" Target="../media/image6.emf"/><Relationship Id="rId5" Type="http://schemas.openxmlformats.org/officeDocument/2006/relationships/oleObject" Target="../embeddings/oleObject111.bin"/><Relationship Id="rId4"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7.xml"/><Relationship Id="rId7" Type="http://schemas.openxmlformats.org/officeDocument/2006/relationships/oleObject" Target="../embeddings/oleObject112.bin"/><Relationship Id="rId2" Type="http://schemas.openxmlformats.org/officeDocument/2006/relationships/tags" Target="../tags/tag236.xml"/><Relationship Id="rId1" Type="http://schemas.openxmlformats.org/officeDocument/2006/relationships/vmlDrawing" Target="../drawings/vmlDrawing112.vml"/><Relationship Id="rId6" Type="http://schemas.openxmlformats.org/officeDocument/2006/relationships/slideMaster" Target="../slideMasters/slideMaster2.xml"/><Relationship Id="rId11" Type="http://schemas.openxmlformats.org/officeDocument/2006/relationships/image" Target="../media/image5.png"/><Relationship Id="rId5" Type="http://schemas.openxmlformats.org/officeDocument/2006/relationships/tags" Target="../tags/tag239.xml"/><Relationship Id="rId10" Type="http://schemas.openxmlformats.org/officeDocument/2006/relationships/image" Target="../media/image4.png"/><Relationship Id="rId4" Type="http://schemas.openxmlformats.org/officeDocument/2006/relationships/tags" Target="../tags/tag238.xml"/><Relationship Id="rId9" Type="http://schemas.openxmlformats.org/officeDocument/2006/relationships/image" Target="../media/image3.png"/></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1.xml"/><Relationship Id="rId7" Type="http://schemas.openxmlformats.org/officeDocument/2006/relationships/image" Target="../media/image7.png"/><Relationship Id="rId2" Type="http://schemas.openxmlformats.org/officeDocument/2006/relationships/tags" Target="../tags/tag240.xml"/><Relationship Id="rId1" Type="http://schemas.openxmlformats.org/officeDocument/2006/relationships/vmlDrawing" Target="../drawings/vmlDrawing113.vml"/><Relationship Id="rId6" Type="http://schemas.openxmlformats.org/officeDocument/2006/relationships/image" Target="../media/image6.emf"/><Relationship Id="rId5" Type="http://schemas.openxmlformats.org/officeDocument/2006/relationships/oleObject" Target="../embeddings/oleObject113.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3.xml"/><Relationship Id="rId7" Type="http://schemas.openxmlformats.org/officeDocument/2006/relationships/image" Target="../media/image7.png"/><Relationship Id="rId2" Type="http://schemas.openxmlformats.org/officeDocument/2006/relationships/tags" Target="../tags/tag242.xml"/><Relationship Id="rId1" Type="http://schemas.openxmlformats.org/officeDocument/2006/relationships/vmlDrawing" Target="../drawings/vmlDrawing114.vml"/><Relationship Id="rId6" Type="http://schemas.openxmlformats.org/officeDocument/2006/relationships/image" Target="../media/image6.emf"/><Relationship Id="rId5" Type="http://schemas.openxmlformats.org/officeDocument/2006/relationships/oleObject" Target="../embeddings/oleObject114.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5.xml"/><Relationship Id="rId7" Type="http://schemas.openxmlformats.org/officeDocument/2006/relationships/image" Target="../media/image7.png"/><Relationship Id="rId2" Type="http://schemas.openxmlformats.org/officeDocument/2006/relationships/tags" Target="../tags/tag244.xml"/><Relationship Id="rId1" Type="http://schemas.openxmlformats.org/officeDocument/2006/relationships/vmlDrawing" Target="../drawings/vmlDrawing115.vml"/><Relationship Id="rId6" Type="http://schemas.openxmlformats.org/officeDocument/2006/relationships/image" Target="../media/image6.emf"/><Relationship Id="rId5" Type="http://schemas.openxmlformats.org/officeDocument/2006/relationships/oleObject" Target="../embeddings/oleObject115.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7.xml"/><Relationship Id="rId7" Type="http://schemas.openxmlformats.org/officeDocument/2006/relationships/image" Target="../media/image7.png"/><Relationship Id="rId2" Type="http://schemas.openxmlformats.org/officeDocument/2006/relationships/tags" Target="../tags/tag246.xml"/><Relationship Id="rId1" Type="http://schemas.openxmlformats.org/officeDocument/2006/relationships/vmlDrawing" Target="../drawings/vmlDrawing116.vml"/><Relationship Id="rId6" Type="http://schemas.openxmlformats.org/officeDocument/2006/relationships/image" Target="../media/image6.emf"/><Relationship Id="rId5" Type="http://schemas.openxmlformats.org/officeDocument/2006/relationships/oleObject" Target="../embeddings/oleObject116.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49.xml"/><Relationship Id="rId7" Type="http://schemas.openxmlformats.org/officeDocument/2006/relationships/image" Target="../media/image7.png"/><Relationship Id="rId2" Type="http://schemas.openxmlformats.org/officeDocument/2006/relationships/tags" Target="../tags/tag248.xml"/><Relationship Id="rId1" Type="http://schemas.openxmlformats.org/officeDocument/2006/relationships/vmlDrawing" Target="../drawings/vmlDrawing117.vml"/><Relationship Id="rId6" Type="http://schemas.openxmlformats.org/officeDocument/2006/relationships/image" Target="../media/image6.emf"/><Relationship Id="rId5" Type="http://schemas.openxmlformats.org/officeDocument/2006/relationships/oleObject" Target="../embeddings/oleObject117.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51.xml"/><Relationship Id="rId7" Type="http://schemas.openxmlformats.org/officeDocument/2006/relationships/image" Target="../media/image8.png"/><Relationship Id="rId2" Type="http://schemas.openxmlformats.org/officeDocument/2006/relationships/tags" Target="../tags/tag250.xml"/><Relationship Id="rId1" Type="http://schemas.openxmlformats.org/officeDocument/2006/relationships/vmlDrawing" Target="../drawings/vmlDrawing118.vml"/><Relationship Id="rId6" Type="http://schemas.openxmlformats.org/officeDocument/2006/relationships/image" Target="../media/image6.emf"/><Relationship Id="rId5" Type="http://schemas.openxmlformats.org/officeDocument/2006/relationships/oleObject" Target="../embeddings/oleObject118.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53.xml"/><Relationship Id="rId7" Type="http://schemas.openxmlformats.org/officeDocument/2006/relationships/image" Target="../media/image8.png"/><Relationship Id="rId2" Type="http://schemas.openxmlformats.org/officeDocument/2006/relationships/tags" Target="../tags/tag252.xml"/><Relationship Id="rId1" Type="http://schemas.openxmlformats.org/officeDocument/2006/relationships/vmlDrawing" Target="../drawings/vmlDrawing119.vml"/><Relationship Id="rId6" Type="http://schemas.openxmlformats.org/officeDocument/2006/relationships/image" Target="../media/image6.emf"/><Relationship Id="rId5" Type="http://schemas.openxmlformats.org/officeDocument/2006/relationships/oleObject" Target="../embeddings/oleObject119.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55.xml"/><Relationship Id="rId7" Type="http://schemas.openxmlformats.org/officeDocument/2006/relationships/image" Target="../media/image8.png"/><Relationship Id="rId2" Type="http://schemas.openxmlformats.org/officeDocument/2006/relationships/tags" Target="../tags/tag254.xml"/><Relationship Id="rId1" Type="http://schemas.openxmlformats.org/officeDocument/2006/relationships/vmlDrawing" Target="../drawings/vmlDrawing120.vml"/><Relationship Id="rId6" Type="http://schemas.openxmlformats.org/officeDocument/2006/relationships/image" Target="../media/image6.emf"/><Relationship Id="rId5" Type="http://schemas.openxmlformats.org/officeDocument/2006/relationships/oleObject" Target="../embeddings/oleObject120.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57.xml"/><Relationship Id="rId7" Type="http://schemas.openxmlformats.org/officeDocument/2006/relationships/image" Target="../media/image8.png"/><Relationship Id="rId2" Type="http://schemas.openxmlformats.org/officeDocument/2006/relationships/tags" Target="../tags/tag256.xml"/><Relationship Id="rId1" Type="http://schemas.openxmlformats.org/officeDocument/2006/relationships/vmlDrawing" Target="../drawings/vmlDrawing121.vml"/><Relationship Id="rId6" Type="http://schemas.openxmlformats.org/officeDocument/2006/relationships/image" Target="../media/image6.emf"/><Relationship Id="rId5" Type="http://schemas.openxmlformats.org/officeDocument/2006/relationships/oleObject" Target="../embeddings/oleObject121.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59.xml"/><Relationship Id="rId7" Type="http://schemas.openxmlformats.org/officeDocument/2006/relationships/image" Target="../media/image8.png"/><Relationship Id="rId2" Type="http://schemas.openxmlformats.org/officeDocument/2006/relationships/tags" Target="../tags/tag258.xml"/><Relationship Id="rId1" Type="http://schemas.openxmlformats.org/officeDocument/2006/relationships/vmlDrawing" Target="../drawings/vmlDrawing122.vml"/><Relationship Id="rId6" Type="http://schemas.openxmlformats.org/officeDocument/2006/relationships/image" Target="../media/image6.emf"/><Relationship Id="rId5" Type="http://schemas.openxmlformats.org/officeDocument/2006/relationships/oleObject" Target="../embeddings/oleObject122.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1.xml"/><Relationship Id="rId7" Type="http://schemas.openxmlformats.org/officeDocument/2006/relationships/image" Target="../media/image8.png"/><Relationship Id="rId2" Type="http://schemas.openxmlformats.org/officeDocument/2006/relationships/tags" Target="../tags/tag260.xml"/><Relationship Id="rId1" Type="http://schemas.openxmlformats.org/officeDocument/2006/relationships/vmlDrawing" Target="../drawings/vmlDrawing123.vml"/><Relationship Id="rId6" Type="http://schemas.openxmlformats.org/officeDocument/2006/relationships/image" Target="../media/image6.emf"/><Relationship Id="rId5" Type="http://schemas.openxmlformats.org/officeDocument/2006/relationships/oleObject" Target="../embeddings/oleObject123.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3.xml"/><Relationship Id="rId7" Type="http://schemas.openxmlformats.org/officeDocument/2006/relationships/image" Target="../media/image9.png"/><Relationship Id="rId2" Type="http://schemas.openxmlformats.org/officeDocument/2006/relationships/tags" Target="../tags/tag262.xml"/><Relationship Id="rId1" Type="http://schemas.openxmlformats.org/officeDocument/2006/relationships/vmlDrawing" Target="../drawings/vmlDrawing124.vml"/><Relationship Id="rId6" Type="http://schemas.openxmlformats.org/officeDocument/2006/relationships/image" Target="../media/image11.emf"/><Relationship Id="rId5" Type="http://schemas.openxmlformats.org/officeDocument/2006/relationships/oleObject" Target="../embeddings/oleObject124.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5.xml"/><Relationship Id="rId7" Type="http://schemas.openxmlformats.org/officeDocument/2006/relationships/image" Target="../media/image10.png"/><Relationship Id="rId2" Type="http://schemas.openxmlformats.org/officeDocument/2006/relationships/tags" Target="../tags/tag264.xml"/><Relationship Id="rId1" Type="http://schemas.openxmlformats.org/officeDocument/2006/relationships/vmlDrawing" Target="../drawings/vmlDrawing125.vml"/><Relationship Id="rId6" Type="http://schemas.openxmlformats.org/officeDocument/2006/relationships/image" Target="../media/image6.emf"/><Relationship Id="rId5" Type="http://schemas.openxmlformats.org/officeDocument/2006/relationships/oleObject" Target="../embeddings/oleObject125.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7.xml"/><Relationship Id="rId7" Type="http://schemas.openxmlformats.org/officeDocument/2006/relationships/image" Target="../media/image12.png"/><Relationship Id="rId2" Type="http://schemas.openxmlformats.org/officeDocument/2006/relationships/tags" Target="../tags/tag266.xml"/><Relationship Id="rId1" Type="http://schemas.openxmlformats.org/officeDocument/2006/relationships/vmlDrawing" Target="../drawings/vmlDrawing126.vml"/><Relationship Id="rId6" Type="http://schemas.openxmlformats.org/officeDocument/2006/relationships/image" Target="../media/image6.emf"/><Relationship Id="rId5" Type="http://schemas.openxmlformats.org/officeDocument/2006/relationships/oleObject" Target="../embeddings/oleObject126.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9.xml"/><Relationship Id="rId7" Type="http://schemas.openxmlformats.org/officeDocument/2006/relationships/image" Target="../media/image13.png"/><Relationship Id="rId2" Type="http://schemas.openxmlformats.org/officeDocument/2006/relationships/tags" Target="../tags/tag268.xml"/><Relationship Id="rId1" Type="http://schemas.openxmlformats.org/officeDocument/2006/relationships/vmlDrawing" Target="../drawings/vmlDrawing127.vml"/><Relationship Id="rId6" Type="http://schemas.openxmlformats.org/officeDocument/2006/relationships/image" Target="../media/image6.emf"/><Relationship Id="rId5" Type="http://schemas.openxmlformats.org/officeDocument/2006/relationships/oleObject" Target="../embeddings/oleObject127.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71.xml"/><Relationship Id="rId7" Type="http://schemas.openxmlformats.org/officeDocument/2006/relationships/image" Target="../media/image9.png"/><Relationship Id="rId2" Type="http://schemas.openxmlformats.org/officeDocument/2006/relationships/tags" Target="../tags/tag270.xml"/><Relationship Id="rId1" Type="http://schemas.openxmlformats.org/officeDocument/2006/relationships/vmlDrawing" Target="../drawings/vmlDrawing128.vml"/><Relationship Id="rId6" Type="http://schemas.openxmlformats.org/officeDocument/2006/relationships/image" Target="../media/image6.emf"/><Relationship Id="rId5" Type="http://schemas.openxmlformats.org/officeDocument/2006/relationships/oleObject" Target="../embeddings/oleObject128.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73.xml"/><Relationship Id="rId7" Type="http://schemas.openxmlformats.org/officeDocument/2006/relationships/image" Target="../media/image14.png"/><Relationship Id="rId2" Type="http://schemas.openxmlformats.org/officeDocument/2006/relationships/tags" Target="../tags/tag272.xml"/><Relationship Id="rId1" Type="http://schemas.openxmlformats.org/officeDocument/2006/relationships/vmlDrawing" Target="../drawings/vmlDrawing129.vml"/><Relationship Id="rId6" Type="http://schemas.openxmlformats.org/officeDocument/2006/relationships/image" Target="../media/image6.emf"/><Relationship Id="rId5" Type="http://schemas.openxmlformats.org/officeDocument/2006/relationships/oleObject" Target="../embeddings/oleObject129.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75.xml"/><Relationship Id="rId7" Type="http://schemas.openxmlformats.org/officeDocument/2006/relationships/image" Target="../media/image9.png"/><Relationship Id="rId2" Type="http://schemas.openxmlformats.org/officeDocument/2006/relationships/tags" Target="../tags/tag274.xml"/><Relationship Id="rId1" Type="http://schemas.openxmlformats.org/officeDocument/2006/relationships/vmlDrawing" Target="../drawings/vmlDrawing130.vml"/><Relationship Id="rId6" Type="http://schemas.openxmlformats.org/officeDocument/2006/relationships/image" Target="../media/image6.emf"/><Relationship Id="rId5" Type="http://schemas.openxmlformats.org/officeDocument/2006/relationships/oleObject" Target="../embeddings/oleObject130.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77.xml"/><Relationship Id="rId7" Type="http://schemas.openxmlformats.org/officeDocument/2006/relationships/image" Target="../media/image14.png"/><Relationship Id="rId2" Type="http://schemas.openxmlformats.org/officeDocument/2006/relationships/tags" Target="../tags/tag276.xml"/><Relationship Id="rId1" Type="http://schemas.openxmlformats.org/officeDocument/2006/relationships/vmlDrawing" Target="../drawings/vmlDrawing131.vml"/><Relationship Id="rId6" Type="http://schemas.openxmlformats.org/officeDocument/2006/relationships/image" Target="../media/image6.emf"/><Relationship Id="rId5" Type="http://schemas.openxmlformats.org/officeDocument/2006/relationships/oleObject" Target="../embeddings/oleObject131.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79.xml"/><Relationship Id="rId7" Type="http://schemas.openxmlformats.org/officeDocument/2006/relationships/image" Target="../media/image7.png"/><Relationship Id="rId2" Type="http://schemas.openxmlformats.org/officeDocument/2006/relationships/tags" Target="../tags/tag278.xml"/><Relationship Id="rId1" Type="http://schemas.openxmlformats.org/officeDocument/2006/relationships/vmlDrawing" Target="../drawings/vmlDrawing132.vml"/><Relationship Id="rId6" Type="http://schemas.openxmlformats.org/officeDocument/2006/relationships/image" Target="../media/image6.emf"/><Relationship Id="rId5" Type="http://schemas.openxmlformats.org/officeDocument/2006/relationships/oleObject" Target="../embeddings/oleObject13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1.xml"/><Relationship Id="rId7" Type="http://schemas.openxmlformats.org/officeDocument/2006/relationships/image" Target="../media/image7.png"/><Relationship Id="rId2" Type="http://schemas.openxmlformats.org/officeDocument/2006/relationships/tags" Target="../tags/tag280.xml"/><Relationship Id="rId1" Type="http://schemas.openxmlformats.org/officeDocument/2006/relationships/vmlDrawing" Target="../drawings/vmlDrawing133.vml"/><Relationship Id="rId6" Type="http://schemas.openxmlformats.org/officeDocument/2006/relationships/image" Target="../media/image6.emf"/><Relationship Id="rId5" Type="http://schemas.openxmlformats.org/officeDocument/2006/relationships/oleObject" Target="../embeddings/oleObject133.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vmlDrawing" Target="../drawings/vmlDrawing11.vml"/><Relationship Id="rId1" Type="http://schemas.openxmlformats.org/officeDocument/2006/relationships/themeOverride" Target="../theme/themeOverride1.xml"/><Relationship Id="rId6" Type="http://schemas.openxmlformats.org/officeDocument/2006/relationships/oleObject" Target="../embeddings/oleObject11.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27.xml"/><Relationship Id="rId9" Type="http://schemas.openxmlformats.org/officeDocument/2006/relationships/image" Target="../media/image4.png"/></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83.xml"/><Relationship Id="rId7" Type="http://schemas.openxmlformats.org/officeDocument/2006/relationships/image" Target="../media/image15.png"/><Relationship Id="rId2" Type="http://schemas.openxmlformats.org/officeDocument/2006/relationships/tags" Target="../tags/tag282.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5.xml"/><Relationship Id="rId7" Type="http://schemas.openxmlformats.org/officeDocument/2006/relationships/image" Target="../media/image7.png"/><Relationship Id="rId2" Type="http://schemas.openxmlformats.org/officeDocument/2006/relationships/tags" Target="../tags/tag284.xml"/><Relationship Id="rId1" Type="http://schemas.openxmlformats.org/officeDocument/2006/relationships/vmlDrawing" Target="../drawings/vmlDrawing135.vml"/><Relationship Id="rId6" Type="http://schemas.openxmlformats.org/officeDocument/2006/relationships/image" Target="../media/image6.emf"/><Relationship Id="rId5" Type="http://schemas.openxmlformats.org/officeDocument/2006/relationships/oleObject" Target="../embeddings/oleObject135.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87.xml"/><Relationship Id="rId7" Type="http://schemas.openxmlformats.org/officeDocument/2006/relationships/image" Target="../media/image9.png"/><Relationship Id="rId2" Type="http://schemas.openxmlformats.org/officeDocument/2006/relationships/tags" Target="../tags/tag286.xml"/><Relationship Id="rId1" Type="http://schemas.openxmlformats.org/officeDocument/2006/relationships/vmlDrawing" Target="../drawings/vmlDrawing136.vml"/><Relationship Id="rId6" Type="http://schemas.openxmlformats.org/officeDocument/2006/relationships/image" Target="../media/image6.emf"/><Relationship Id="rId5" Type="http://schemas.openxmlformats.org/officeDocument/2006/relationships/oleObject" Target="../embeddings/oleObject136.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9.xml"/><Relationship Id="rId7" Type="http://schemas.openxmlformats.org/officeDocument/2006/relationships/image" Target="../media/image7.png"/><Relationship Id="rId2" Type="http://schemas.openxmlformats.org/officeDocument/2006/relationships/tags" Target="../tags/tag288.xml"/><Relationship Id="rId1" Type="http://schemas.openxmlformats.org/officeDocument/2006/relationships/vmlDrawing" Target="../drawings/vmlDrawing137.vml"/><Relationship Id="rId6" Type="http://schemas.openxmlformats.org/officeDocument/2006/relationships/image" Target="../media/image6.emf"/><Relationship Id="rId5" Type="http://schemas.openxmlformats.org/officeDocument/2006/relationships/oleObject" Target="../embeddings/oleObject137.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1.xml"/><Relationship Id="rId7" Type="http://schemas.openxmlformats.org/officeDocument/2006/relationships/image" Target="../media/image7.png"/><Relationship Id="rId2" Type="http://schemas.openxmlformats.org/officeDocument/2006/relationships/tags" Target="../tags/tag290.xml"/><Relationship Id="rId1" Type="http://schemas.openxmlformats.org/officeDocument/2006/relationships/vmlDrawing" Target="../drawings/vmlDrawing138.vml"/><Relationship Id="rId6" Type="http://schemas.openxmlformats.org/officeDocument/2006/relationships/image" Target="../media/image6.emf"/><Relationship Id="rId5" Type="http://schemas.openxmlformats.org/officeDocument/2006/relationships/oleObject" Target="../embeddings/oleObject138.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3.xml"/><Relationship Id="rId7" Type="http://schemas.openxmlformats.org/officeDocument/2006/relationships/image" Target="../media/image7.png"/><Relationship Id="rId2" Type="http://schemas.openxmlformats.org/officeDocument/2006/relationships/tags" Target="../tags/tag292.xml"/><Relationship Id="rId1" Type="http://schemas.openxmlformats.org/officeDocument/2006/relationships/vmlDrawing" Target="../drawings/vmlDrawing139.vml"/><Relationship Id="rId6" Type="http://schemas.openxmlformats.org/officeDocument/2006/relationships/image" Target="../media/image6.emf"/><Relationship Id="rId5" Type="http://schemas.openxmlformats.org/officeDocument/2006/relationships/oleObject" Target="../embeddings/oleObject139.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5.xml"/><Relationship Id="rId7" Type="http://schemas.openxmlformats.org/officeDocument/2006/relationships/image" Target="../media/image3.png"/><Relationship Id="rId2" Type="http://schemas.openxmlformats.org/officeDocument/2006/relationships/tags" Target="../tags/tag294.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141.vml"/><Relationship Id="rId6" Type="http://schemas.openxmlformats.org/officeDocument/2006/relationships/image" Target="../media/image6.emf"/><Relationship Id="rId5" Type="http://schemas.openxmlformats.org/officeDocument/2006/relationships/oleObject" Target="../embeddings/oleObject141.bin"/><Relationship Id="rId4"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99.xml"/><Relationship Id="rId7" Type="http://schemas.openxmlformats.org/officeDocument/2006/relationships/image" Target="../media/image1.emf"/><Relationship Id="rId2" Type="http://schemas.openxmlformats.org/officeDocument/2006/relationships/tags" Target="../tags/tag298.xml"/><Relationship Id="rId1" Type="http://schemas.openxmlformats.org/officeDocument/2006/relationships/vmlDrawing" Target="../drawings/vmlDrawing142.vml"/><Relationship Id="rId6" Type="http://schemas.openxmlformats.org/officeDocument/2006/relationships/oleObject" Target="../embeddings/oleObject142.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300.xml"/><Relationship Id="rId9" Type="http://schemas.openxmlformats.org/officeDocument/2006/relationships/image" Target="../media/image4.png"/></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02.xml"/><Relationship Id="rId7" Type="http://schemas.openxmlformats.org/officeDocument/2006/relationships/image" Target="../media/image7.png"/><Relationship Id="rId2" Type="http://schemas.openxmlformats.org/officeDocument/2006/relationships/tags" Target="../tags/tag301.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04.xml"/><Relationship Id="rId7" Type="http://schemas.openxmlformats.org/officeDocument/2006/relationships/image" Target="../media/image7.png"/><Relationship Id="rId2" Type="http://schemas.openxmlformats.org/officeDocument/2006/relationships/tags" Target="../tags/tag303.xml"/><Relationship Id="rId1" Type="http://schemas.openxmlformats.org/officeDocument/2006/relationships/vmlDrawing" Target="../drawings/vmlDrawing144.vml"/><Relationship Id="rId6" Type="http://schemas.openxmlformats.org/officeDocument/2006/relationships/image" Target="../media/image1.emf"/><Relationship Id="rId5" Type="http://schemas.openxmlformats.org/officeDocument/2006/relationships/oleObject" Target="../embeddings/oleObject144.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06.xml"/><Relationship Id="rId7" Type="http://schemas.openxmlformats.org/officeDocument/2006/relationships/image" Target="../media/image8.png"/><Relationship Id="rId2" Type="http://schemas.openxmlformats.org/officeDocument/2006/relationships/tags" Target="../tags/tag305.xml"/><Relationship Id="rId1" Type="http://schemas.openxmlformats.org/officeDocument/2006/relationships/vmlDrawing" Target="../drawings/vmlDrawing145.vml"/><Relationship Id="rId6" Type="http://schemas.openxmlformats.org/officeDocument/2006/relationships/image" Target="../media/image1.emf"/><Relationship Id="rId5" Type="http://schemas.openxmlformats.org/officeDocument/2006/relationships/oleObject" Target="../embeddings/oleObject145.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08.xml"/><Relationship Id="rId7" Type="http://schemas.openxmlformats.org/officeDocument/2006/relationships/image" Target="../media/image1.emf"/><Relationship Id="rId2" Type="http://schemas.openxmlformats.org/officeDocument/2006/relationships/tags" Target="../tags/tag307.xml"/><Relationship Id="rId1" Type="http://schemas.openxmlformats.org/officeDocument/2006/relationships/vmlDrawing" Target="../drawings/vmlDrawing146.vml"/><Relationship Id="rId6" Type="http://schemas.openxmlformats.org/officeDocument/2006/relationships/oleObject" Target="../embeddings/oleObject146.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309.xml"/><Relationship Id="rId9" Type="http://schemas.openxmlformats.org/officeDocument/2006/relationships/image" Target="../media/image4.png"/></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1.xml"/><Relationship Id="rId7" Type="http://schemas.openxmlformats.org/officeDocument/2006/relationships/image" Target="../media/image7.png"/><Relationship Id="rId2" Type="http://schemas.openxmlformats.org/officeDocument/2006/relationships/tags" Target="../tags/tag310.xml"/><Relationship Id="rId1" Type="http://schemas.openxmlformats.org/officeDocument/2006/relationships/vmlDrawing" Target="../drawings/vmlDrawing147.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3.xml"/><Relationship Id="rId7" Type="http://schemas.openxmlformats.org/officeDocument/2006/relationships/image" Target="../media/image7.png"/><Relationship Id="rId2" Type="http://schemas.openxmlformats.org/officeDocument/2006/relationships/tags" Target="../tags/tag312.xml"/><Relationship Id="rId1" Type="http://schemas.openxmlformats.org/officeDocument/2006/relationships/vmlDrawing" Target="../drawings/vmlDrawing148.vml"/><Relationship Id="rId6" Type="http://schemas.openxmlformats.org/officeDocument/2006/relationships/image" Target="../media/image1.emf"/><Relationship Id="rId5" Type="http://schemas.openxmlformats.org/officeDocument/2006/relationships/oleObject" Target="../embeddings/oleObject148.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15.xml"/><Relationship Id="rId7" Type="http://schemas.openxmlformats.org/officeDocument/2006/relationships/image" Target="../media/image8.png"/><Relationship Id="rId2" Type="http://schemas.openxmlformats.org/officeDocument/2006/relationships/tags" Target="../tags/tag314.xml"/><Relationship Id="rId1" Type="http://schemas.openxmlformats.org/officeDocument/2006/relationships/vmlDrawing" Target="../drawings/vmlDrawing149.vml"/><Relationship Id="rId6" Type="http://schemas.openxmlformats.org/officeDocument/2006/relationships/image" Target="../media/image1.emf"/><Relationship Id="rId5" Type="http://schemas.openxmlformats.org/officeDocument/2006/relationships/oleObject" Target="../embeddings/oleObject149.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17.xml"/><Relationship Id="rId7" Type="http://schemas.openxmlformats.org/officeDocument/2006/relationships/image" Target="../media/image9.png"/><Relationship Id="rId2" Type="http://schemas.openxmlformats.org/officeDocument/2006/relationships/tags" Target="../tags/tag316.xml"/><Relationship Id="rId1" Type="http://schemas.openxmlformats.org/officeDocument/2006/relationships/vmlDrawing" Target="../drawings/vmlDrawing150.vml"/><Relationship Id="rId6" Type="http://schemas.openxmlformats.org/officeDocument/2006/relationships/image" Target="../media/image1.emf"/><Relationship Id="rId5" Type="http://schemas.openxmlformats.org/officeDocument/2006/relationships/oleObject" Target="../embeddings/oleObject150.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7.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9.xml"/><Relationship Id="rId7" Type="http://schemas.openxmlformats.org/officeDocument/2006/relationships/image" Target="../media/image8.png"/><Relationship Id="rId2" Type="http://schemas.openxmlformats.org/officeDocument/2006/relationships/tags" Target="../tags/tag38.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5.xml"/><Relationship Id="rId7" Type="http://schemas.openxmlformats.org/officeDocument/2006/relationships/image" Target="../media/image9.png"/><Relationship Id="rId2" Type="http://schemas.openxmlformats.org/officeDocument/2006/relationships/tags" Target="../tags/tag44.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vmlDrawing" Target="../drawings/vmlDrawing21.vml"/><Relationship Id="rId1" Type="http://schemas.openxmlformats.org/officeDocument/2006/relationships/themeOverride" Target="../theme/themeOverride2.xml"/><Relationship Id="rId6" Type="http://schemas.openxmlformats.org/officeDocument/2006/relationships/oleObject" Target="../embeddings/oleObject21.bin"/><Relationship Id="rId11" Type="http://schemas.openxmlformats.org/officeDocument/2006/relationships/image" Target="../media/image5.pn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47.xml"/><Relationship Id="rId9"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9.xml"/><Relationship Id="rId7" Type="http://schemas.openxmlformats.org/officeDocument/2006/relationships/image" Target="../media/image12.png"/><Relationship Id="rId2" Type="http://schemas.openxmlformats.org/officeDocument/2006/relationships/tags" Target="../tags/tag48.xml"/><Relationship Id="rId1" Type="http://schemas.openxmlformats.org/officeDocument/2006/relationships/vmlDrawing" Target="../drawings/vmlDrawing22.vml"/><Relationship Id="rId6" Type="http://schemas.openxmlformats.org/officeDocument/2006/relationships/image" Target="../media/image11.emf"/><Relationship Id="rId5" Type="http://schemas.openxmlformats.org/officeDocument/2006/relationships/oleObject" Target="../embeddings/oleObject2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vmlDrawing" Target="../drawings/vmlDrawing23.vml"/><Relationship Id="rId1" Type="http://schemas.openxmlformats.org/officeDocument/2006/relationships/themeOverride" Target="../theme/themeOverride3.xml"/><Relationship Id="rId6" Type="http://schemas.openxmlformats.org/officeDocument/2006/relationships/oleObject" Target="../embeddings/oleObject23.bin"/><Relationship Id="rId11" Type="http://schemas.openxmlformats.org/officeDocument/2006/relationships/image" Target="../media/image5.pn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51.xml"/><Relationship Id="rId9"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3.xml"/><Relationship Id="rId7" Type="http://schemas.openxmlformats.org/officeDocument/2006/relationships/image" Target="../media/image9.png"/><Relationship Id="rId2" Type="http://schemas.openxmlformats.org/officeDocument/2006/relationships/tags" Target="../tags/tag52.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4.xml"/><Relationship Id="rId7" Type="http://schemas.openxmlformats.org/officeDocument/2006/relationships/image" Target="../media/image6.emf"/><Relationship Id="rId2" Type="http://schemas.openxmlformats.org/officeDocument/2006/relationships/vmlDrawing" Target="../drawings/vmlDrawing25.vml"/><Relationship Id="rId1" Type="http://schemas.openxmlformats.org/officeDocument/2006/relationships/themeOverride" Target="../theme/themeOverride4.xml"/><Relationship Id="rId6" Type="http://schemas.openxmlformats.org/officeDocument/2006/relationships/oleObject" Target="../embeddings/oleObject25.bin"/><Relationship Id="rId11" Type="http://schemas.openxmlformats.org/officeDocument/2006/relationships/image" Target="../media/image5.pn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55.xml"/><Relationship Id="rId9"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7.xml"/><Relationship Id="rId7" Type="http://schemas.openxmlformats.org/officeDocument/2006/relationships/image" Target="../media/image9.png"/><Relationship Id="rId2" Type="http://schemas.openxmlformats.org/officeDocument/2006/relationships/tags" Target="../tags/tag56.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8.xml"/><Relationship Id="rId7" Type="http://schemas.openxmlformats.org/officeDocument/2006/relationships/image" Target="../media/image6.emf"/><Relationship Id="rId2" Type="http://schemas.openxmlformats.org/officeDocument/2006/relationships/vmlDrawing" Target="../drawings/vmlDrawing27.vml"/><Relationship Id="rId1" Type="http://schemas.openxmlformats.org/officeDocument/2006/relationships/themeOverride" Target="../theme/themeOverride5.xml"/><Relationship Id="rId6" Type="http://schemas.openxmlformats.org/officeDocument/2006/relationships/oleObject" Target="../embeddings/oleObject27.bin"/><Relationship Id="rId11" Type="http://schemas.openxmlformats.org/officeDocument/2006/relationships/image" Target="../media/image5.png"/><Relationship Id="rId5" Type="http://schemas.openxmlformats.org/officeDocument/2006/relationships/slideMaster" Target="../slideMasters/slideMaster1.xml"/><Relationship Id="rId10" Type="http://schemas.openxmlformats.org/officeDocument/2006/relationships/image" Target="../media/image4.png"/><Relationship Id="rId4" Type="http://schemas.openxmlformats.org/officeDocument/2006/relationships/tags" Target="../tags/tag59.xml"/><Relationship Id="rId9"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1.xml"/><Relationship Id="rId7" Type="http://schemas.openxmlformats.org/officeDocument/2006/relationships/image" Target="../media/image7.png"/><Relationship Id="rId2" Type="http://schemas.openxmlformats.org/officeDocument/2006/relationships/tags" Target="../tags/tag60.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2.xml"/><Relationship Id="rId7" Type="http://schemas.openxmlformats.org/officeDocument/2006/relationships/image" Target="../media/image6.emf"/><Relationship Id="rId2" Type="http://schemas.openxmlformats.org/officeDocument/2006/relationships/vmlDrawing" Target="../drawings/vmlDrawing29.vml"/><Relationship Id="rId1" Type="http://schemas.openxmlformats.org/officeDocument/2006/relationships/themeOverride" Target="../theme/themeOverride6.xml"/><Relationship Id="rId6" Type="http://schemas.openxmlformats.org/officeDocument/2006/relationships/oleObject" Target="../embeddings/oleObject29.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63.xml"/><Relationship Id="rId9"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5.xml"/><Relationship Id="rId7" Type="http://schemas.openxmlformats.org/officeDocument/2006/relationships/image" Target="../media/image15.png"/><Relationship Id="rId2" Type="http://schemas.openxmlformats.org/officeDocument/2006/relationships/tags" Target="../tags/tag64.xml"/><Relationship Id="rId1" Type="http://schemas.openxmlformats.org/officeDocument/2006/relationships/vmlDrawing" Target="../drawings/vmlDrawing30.vml"/><Relationship Id="rId6" Type="http://schemas.openxmlformats.org/officeDocument/2006/relationships/image" Target="../media/image11.emf"/><Relationship Id="rId5" Type="http://schemas.openxmlformats.org/officeDocument/2006/relationships/oleObject" Target="../embeddings/oleObject30.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7.xml"/><Relationship Id="rId7" Type="http://schemas.openxmlformats.org/officeDocument/2006/relationships/image" Target="../media/image7.png"/><Relationship Id="rId2" Type="http://schemas.openxmlformats.org/officeDocument/2006/relationships/tags" Target="../tags/tag66.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8.xml"/><Relationship Id="rId7" Type="http://schemas.openxmlformats.org/officeDocument/2006/relationships/image" Target="../media/image6.emf"/><Relationship Id="rId2" Type="http://schemas.openxmlformats.org/officeDocument/2006/relationships/vmlDrawing" Target="../drawings/vmlDrawing32.vml"/><Relationship Id="rId1" Type="http://schemas.openxmlformats.org/officeDocument/2006/relationships/themeOverride" Target="../theme/themeOverride7.xml"/><Relationship Id="rId6" Type="http://schemas.openxmlformats.org/officeDocument/2006/relationships/oleObject" Target="../embeddings/oleObject32.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69.xml"/><Relationship Id="rId9"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1.xml"/><Relationship Id="rId7" Type="http://schemas.openxmlformats.org/officeDocument/2006/relationships/image" Target="../media/image7.png"/><Relationship Id="rId2" Type="http://schemas.openxmlformats.org/officeDocument/2006/relationships/tags" Target="../tags/tag70.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vmlDrawing" Target="../drawings/vmlDrawing34.vml"/><Relationship Id="rId1" Type="http://schemas.openxmlformats.org/officeDocument/2006/relationships/themeOverride" Target="../theme/themeOverride8.xml"/><Relationship Id="rId6" Type="http://schemas.openxmlformats.org/officeDocument/2006/relationships/oleObject" Target="../embeddings/oleObject34.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73.xml"/><Relationship Id="rId9"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5.xml"/><Relationship Id="rId7" Type="http://schemas.openxmlformats.org/officeDocument/2006/relationships/image" Target="../media/image3.png"/><Relationship Id="rId2" Type="http://schemas.openxmlformats.org/officeDocument/2006/relationships/tags" Target="../tags/tag74.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9.xml"/><Relationship Id="rId7" Type="http://schemas.openxmlformats.org/officeDocument/2006/relationships/oleObject" Target="../embeddings/oleObject37.bin"/><Relationship Id="rId2" Type="http://schemas.openxmlformats.org/officeDocument/2006/relationships/tags" Target="../tags/tag78.xml"/><Relationship Id="rId1" Type="http://schemas.openxmlformats.org/officeDocument/2006/relationships/vmlDrawing" Target="../drawings/vmlDrawing37.v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81.xml"/><Relationship Id="rId10" Type="http://schemas.openxmlformats.org/officeDocument/2006/relationships/image" Target="../media/image4.png"/><Relationship Id="rId4" Type="http://schemas.openxmlformats.org/officeDocument/2006/relationships/tags" Target="../tags/tag80.xml"/><Relationship Id="rId9"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3.xml"/><Relationship Id="rId7" Type="http://schemas.openxmlformats.org/officeDocument/2006/relationships/image" Target="../media/image7.png"/><Relationship Id="rId2" Type="http://schemas.openxmlformats.org/officeDocument/2006/relationships/tags" Target="../tags/tag82.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5.xml"/><Relationship Id="rId7" Type="http://schemas.openxmlformats.org/officeDocument/2006/relationships/image" Target="../media/image7.png"/><Relationship Id="rId2" Type="http://schemas.openxmlformats.org/officeDocument/2006/relationships/tags" Target="../tags/tag84.xml"/><Relationship Id="rId1" Type="http://schemas.openxmlformats.org/officeDocument/2006/relationships/vmlDrawing" Target="../drawings/vmlDrawing39.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7.xml"/><Relationship Id="rId7" Type="http://schemas.openxmlformats.org/officeDocument/2006/relationships/image" Target="../media/image7.png"/><Relationship Id="rId2" Type="http://schemas.openxmlformats.org/officeDocument/2006/relationships/tags" Target="../tags/tag86.xml"/><Relationship Id="rId1" Type="http://schemas.openxmlformats.org/officeDocument/2006/relationships/vmlDrawing" Target="../drawings/vmlDrawing40.vml"/><Relationship Id="rId6" Type="http://schemas.openxmlformats.org/officeDocument/2006/relationships/image" Target="../media/image6.emf"/><Relationship Id="rId5" Type="http://schemas.openxmlformats.org/officeDocument/2006/relationships/oleObject" Target="../embeddings/oleObject40.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9.xml"/><Relationship Id="rId7" Type="http://schemas.openxmlformats.org/officeDocument/2006/relationships/image" Target="../media/image7.png"/><Relationship Id="rId2" Type="http://schemas.openxmlformats.org/officeDocument/2006/relationships/tags" Target="../tags/tag88.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1.xml"/><Relationship Id="rId7" Type="http://schemas.openxmlformats.org/officeDocument/2006/relationships/image" Target="../media/image7.png"/><Relationship Id="rId2" Type="http://schemas.openxmlformats.org/officeDocument/2006/relationships/tags" Target="../tags/tag90.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3.xml"/><Relationship Id="rId7" Type="http://schemas.openxmlformats.org/officeDocument/2006/relationships/image" Target="../media/image8.png"/><Relationship Id="rId2" Type="http://schemas.openxmlformats.org/officeDocument/2006/relationships/tags" Target="../tags/tag92.xml"/><Relationship Id="rId1" Type="http://schemas.openxmlformats.org/officeDocument/2006/relationships/vmlDrawing" Target="../drawings/vmlDrawing43.vml"/><Relationship Id="rId6" Type="http://schemas.openxmlformats.org/officeDocument/2006/relationships/image" Target="../media/image6.emf"/><Relationship Id="rId5" Type="http://schemas.openxmlformats.org/officeDocument/2006/relationships/oleObject" Target="../embeddings/oleObject4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5.xml"/><Relationship Id="rId7" Type="http://schemas.openxmlformats.org/officeDocument/2006/relationships/image" Target="../media/image8.png"/><Relationship Id="rId2" Type="http://schemas.openxmlformats.org/officeDocument/2006/relationships/tags" Target="../tags/tag94.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7.xml"/><Relationship Id="rId7" Type="http://schemas.openxmlformats.org/officeDocument/2006/relationships/image" Target="../media/image8.png"/><Relationship Id="rId2" Type="http://schemas.openxmlformats.org/officeDocument/2006/relationships/tags" Target="../tags/tag9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9.xml"/><Relationship Id="rId7" Type="http://schemas.openxmlformats.org/officeDocument/2006/relationships/image" Target="../media/image8.png"/><Relationship Id="rId2" Type="http://schemas.openxmlformats.org/officeDocument/2006/relationships/tags" Target="../tags/tag98.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1.xml"/><Relationship Id="rId7" Type="http://schemas.openxmlformats.org/officeDocument/2006/relationships/image" Target="../media/image8.png"/><Relationship Id="rId2" Type="http://schemas.openxmlformats.org/officeDocument/2006/relationships/tags" Target="../tags/tag100.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3.xml"/><Relationship Id="rId7" Type="http://schemas.openxmlformats.org/officeDocument/2006/relationships/image" Target="../media/image8.png"/><Relationship Id="rId2" Type="http://schemas.openxmlformats.org/officeDocument/2006/relationships/tags" Target="../tags/tag102.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5.xml"/><Relationship Id="rId7" Type="http://schemas.openxmlformats.org/officeDocument/2006/relationships/image" Target="../media/image9.png"/><Relationship Id="rId2" Type="http://schemas.openxmlformats.org/officeDocument/2006/relationships/tags" Target="../tags/tag104.xml"/><Relationship Id="rId1" Type="http://schemas.openxmlformats.org/officeDocument/2006/relationships/vmlDrawing" Target="../drawings/vmlDrawing49.vml"/><Relationship Id="rId6" Type="http://schemas.openxmlformats.org/officeDocument/2006/relationships/image" Target="../media/image11.emf"/><Relationship Id="rId5" Type="http://schemas.openxmlformats.org/officeDocument/2006/relationships/oleObject" Target="../embeddings/oleObject49.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7.xml"/><Relationship Id="rId7" Type="http://schemas.openxmlformats.org/officeDocument/2006/relationships/image" Target="../media/image10.png"/><Relationship Id="rId2" Type="http://schemas.openxmlformats.org/officeDocument/2006/relationships/tags" Target="../tags/tag106.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9.xml"/><Relationship Id="rId7" Type="http://schemas.openxmlformats.org/officeDocument/2006/relationships/image" Target="../media/image12.png"/><Relationship Id="rId2" Type="http://schemas.openxmlformats.org/officeDocument/2006/relationships/tags" Target="../tags/tag108.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51.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1.xml"/><Relationship Id="rId7" Type="http://schemas.openxmlformats.org/officeDocument/2006/relationships/image" Target="../media/image13.png"/><Relationship Id="rId2" Type="http://schemas.openxmlformats.org/officeDocument/2006/relationships/tags" Target="../tags/tag110.xml"/><Relationship Id="rId1" Type="http://schemas.openxmlformats.org/officeDocument/2006/relationships/vmlDrawing" Target="../drawings/vmlDrawing52.vml"/><Relationship Id="rId6" Type="http://schemas.openxmlformats.org/officeDocument/2006/relationships/image" Target="../media/image6.emf"/><Relationship Id="rId5" Type="http://schemas.openxmlformats.org/officeDocument/2006/relationships/oleObject" Target="../embeddings/oleObject5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3.xml"/><Relationship Id="rId7" Type="http://schemas.openxmlformats.org/officeDocument/2006/relationships/image" Target="../media/image9.png"/><Relationship Id="rId2" Type="http://schemas.openxmlformats.org/officeDocument/2006/relationships/tags" Target="../tags/tag112.xml"/><Relationship Id="rId1" Type="http://schemas.openxmlformats.org/officeDocument/2006/relationships/vmlDrawing" Target="../drawings/vmlDrawing53.vml"/><Relationship Id="rId6" Type="http://schemas.openxmlformats.org/officeDocument/2006/relationships/image" Target="../media/image6.emf"/><Relationship Id="rId5" Type="http://schemas.openxmlformats.org/officeDocument/2006/relationships/oleObject" Target="../embeddings/oleObject5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5.xml"/><Relationship Id="rId7" Type="http://schemas.openxmlformats.org/officeDocument/2006/relationships/image" Target="../media/image14.png"/><Relationship Id="rId2" Type="http://schemas.openxmlformats.org/officeDocument/2006/relationships/tags" Target="../tags/tag114.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54.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7.xml"/><Relationship Id="rId7" Type="http://schemas.openxmlformats.org/officeDocument/2006/relationships/image" Target="../media/image9.png"/><Relationship Id="rId2" Type="http://schemas.openxmlformats.org/officeDocument/2006/relationships/tags" Target="../tags/tag116.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55.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9.xml"/><Relationship Id="rId7" Type="http://schemas.openxmlformats.org/officeDocument/2006/relationships/image" Target="../media/image14.png"/><Relationship Id="rId2" Type="http://schemas.openxmlformats.org/officeDocument/2006/relationships/tags" Target="../tags/tag118.xml"/><Relationship Id="rId1" Type="http://schemas.openxmlformats.org/officeDocument/2006/relationships/vmlDrawing" Target="../drawings/vmlDrawing56.vml"/><Relationship Id="rId6" Type="http://schemas.openxmlformats.org/officeDocument/2006/relationships/image" Target="../media/image6.emf"/><Relationship Id="rId5" Type="http://schemas.openxmlformats.org/officeDocument/2006/relationships/oleObject" Target="../embeddings/oleObject56.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1.xml"/><Relationship Id="rId7" Type="http://schemas.openxmlformats.org/officeDocument/2006/relationships/image" Target="../media/image7.png"/><Relationship Id="rId2" Type="http://schemas.openxmlformats.org/officeDocument/2006/relationships/tags" Target="../tags/tag120.xml"/><Relationship Id="rId1" Type="http://schemas.openxmlformats.org/officeDocument/2006/relationships/vmlDrawing" Target="../drawings/vmlDrawing57.vml"/><Relationship Id="rId6" Type="http://schemas.openxmlformats.org/officeDocument/2006/relationships/image" Target="../media/image6.emf"/><Relationship Id="rId5" Type="http://schemas.openxmlformats.org/officeDocument/2006/relationships/oleObject" Target="../embeddings/oleObject57.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3.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vmlDrawing" Target="../drawings/vmlDrawing58.vml"/><Relationship Id="rId6" Type="http://schemas.openxmlformats.org/officeDocument/2006/relationships/image" Target="../media/image6.emf"/><Relationship Id="rId5" Type="http://schemas.openxmlformats.org/officeDocument/2006/relationships/oleObject" Target="../embeddings/oleObject5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5.xml"/><Relationship Id="rId7" Type="http://schemas.openxmlformats.org/officeDocument/2006/relationships/image" Target="../media/image15.png"/><Relationship Id="rId2" Type="http://schemas.openxmlformats.org/officeDocument/2006/relationships/tags" Target="../tags/tag124.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7.png"/><Relationship Id="rId2" Type="http://schemas.openxmlformats.org/officeDocument/2006/relationships/tags" Target="../tags/tag126.xml"/><Relationship Id="rId1" Type="http://schemas.openxmlformats.org/officeDocument/2006/relationships/vmlDrawing" Target="../drawings/vmlDrawing60.vml"/><Relationship Id="rId6" Type="http://schemas.openxmlformats.org/officeDocument/2006/relationships/image" Target="../media/image6.emf"/><Relationship Id="rId5" Type="http://schemas.openxmlformats.org/officeDocument/2006/relationships/oleObject" Target="../embeddings/oleObject60.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9.xml"/><Relationship Id="rId7" Type="http://schemas.openxmlformats.org/officeDocument/2006/relationships/image" Target="../media/image9.png"/><Relationship Id="rId2" Type="http://schemas.openxmlformats.org/officeDocument/2006/relationships/tags" Target="../tags/tag128.xml"/><Relationship Id="rId1" Type="http://schemas.openxmlformats.org/officeDocument/2006/relationships/vmlDrawing" Target="../drawings/vmlDrawing61.vml"/><Relationship Id="rId6" Type="http://schemas.openxmlformats.org/officeDocument/2006/relationships/image" Target="../media/image6.emf"/><Relationship Id="rId5" Type="http://schemas.openxmlformats.org/officeDocument/2006/relationships/oleObject" Target="../embeddings/oleObject61.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1.xml"/><Relationship Id="rId7" Type="http://schemas.openxmlformats.org/officeDocument/2006/relationships/image" Target="../media/image7.png"/><Relationship Id="rId2" Type="http://schemas.openxmlformats.org/officeDocument/2006/relationships/tags" Target="../tags/tag130.xml"/><Relationship Id="rId1" Type="http://schemas.openxmlformats.org/officeDocument/2006/relationships/vmlDrawing" Target="../drawings/vmlDrawing62.vml"/><Relationship Id="rId6" Type="http://schemas.openxmlformats.org/officeDocument/2006/relationships/image" Target="../media/image6.emf"/><Relationship Id="rId5" Type="http://schemas.openxmlformats.org/officeDocument/2006/relationships/oleObject" Target="../embeddings/oleObject6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3.xml"/><Relationship Id="rId7" Type="http://schemas.openxmlformats.org/officeDocument/2006/relationships/image" Target="../media/image7.png"/><Relationship Id="rId2" Type="http://schemas.openxmlformats.org/officeDocument/2006/relationships/tags" Target="../tags/tag132.xml"/><Relationship Id="rId1" Type="http://schemas.openxmlformats.org/officeDocument/2006/relationships/vmlDrawing" Target="../drawings/vmlDrawing63.v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5.xml"/><Relationship Id="rId7" Type="http://schemas.openxmlformats.org/officeDocument/2006/relationships/image" Target="../media/image7.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image" Target="../media/image6.emf"/><Relationship Id="rId5" Type="http://schemas.openxmlformats.org/officeDocument/2006/relationships/oleObject" Target="../embeddings/oleObject64.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7.xml"/><Relationship Id="rId7" Type="http://schemas.openxmlformats.org/officeDocument/2006/relationships/image" Target="../media/image3.png"/><Relationship Id="rId2" Type="http://schemas.openxmlformats.org/officeDocument/2006/relationships/tags" Target="../tags/tag136.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66.vml"/><Relationship Id="rId6" Type="http://schemas.openxmlformats.org/officeDocument/2006/relationships/image" Target="../media/image6.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1.xml"/><Relationship Id="rId7" Type="http://schemas.openxmlformats.org/officeDocument/2006/relationships/image" Target="../media/image1.emf"/><Relationship Id="rId2" Type="http://schemas.openxmlformats.org/officeDocument/2006/relationships/tags" Target="../tags/tag140.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142.xml"/><Relationship Id="rId9"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4.xml"/><Relationship Id="rId7" Type="http://schemas.openxmlformats.org/officeDocument/2006/relationships/image" Target="../media/image7.png"/><Relationship Id="rId2" Type="http://schemas.openxmlformats.org/officeDocument/2006/relationships/tags" Target="../tags/tag143.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6.xml"/><Relationship Id="rId7" Type="http://schemas.openxmlformats.org/officeDocument/2006/relationships/image" Target="../media/image7.png"/><Relationship Id="rId2" Type="http://schemas.openxmlformats.org/officeDocument/2006/relationships/tags" Target="../tags/tag145.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8.xml"/><Relationship Id="rId7" Type="http://schemas.openxmlformats.org/officeDocument/2006/relationships/image" Target="../media/image8.png"/><Relationship Id="rId2" Type="http://schemas.openxmlformats.org/officeDocument/2006/relationships/tags" Target="../tags/tag147.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151.xml"/><Relationship Id="rId9"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3.xml"/><Relationship Id="rId7" Type="http://schemas.openxmlformats.org/officeDocument/2006/relationships/image" Target="../media/image7.png"/><Relationship Id="rId2" Type="http://schemas.openxmlformats.org/officeDocument/2006/relationships/tags" Target="../tags/tag152.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5.xml"/><Relationship Id="rId7" Type="http://schemas.openxmlformats.org/officeDocument/2006/relationships/image" Target="../media/image7.png"/><Relationship Id="rId2" Type="http://schemas.openxmlformats.org/officeDocument/2006/relationships/tags" Target="../tags/tag15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7.xml"/><Relationship Id="rId7" Type="http://schemas.openxmlformats.org/officeDocument/2006/relationships/image" Target="../media/image8.png"/><Relationship Id="rId2" Type="http://schemas.openxmlformats.org/officeDocument/2006/relationships/tags" Target="../tags/tag156.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9.xml"/><Relationship Id="rId7" Type="http://schemas.openxmlformats.org/officeDocument/2006/relationships/image" Target="../media/image9.png"/><Relationship Id="rId2" Type="http://schemas.openxmlformats.org/officeDocument/2006/relationships/tags" Target="../tags/tag158.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2.xml"/><Relationship Id="rId7" Type="http://schemas.openxmlformats.org/officeDocument/2006/relationships/image" Target="../media/image2.emf"/><Relationship Id="rId2" Type="http://schemas.openxmlformats.org/officeDocument/2006/relationships/tags" Target="../tags/tag161.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163.xml"/><Relationship Id="rId9"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6.xml"/><Relationship Id="rId7" Type="http://schemas.openxmlformats.org/officeDocument/2006/relationships/image" Target="../media/image7.png"/><Relationship Id="rId2" Type="http://schemas.openxmlformats.org/officeDocument/2006/relationships/tags" Target="../tags/tag165.xml"/><Relationship Id="rId1" Type="http://schemas.openxmlformats.org/officeDocument/2006/relationships/vmlDrawing" Target="../drawings/vmlDrawing78.vml"/><Relationship Id="rId6" Type="http://schemas.openxmlformats.org/officeDocument/2006/relationships/image" Target="../media/image6.emf"/><Relationship Id="rId5" Type="http://schemas.openxmlformats.org/officeDocument/2006/relationships/oleObject" Target="../embeddings/oleObject78.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8.xml"/><Relationship Id="rId7" Type="http://schemas.openxmlformats.org/officeDocument/2006/relationships/image" Target="../media/image7.png"/><Relationship Id="rId2" Type="http://schemas.openxmlformats.org/officeDocument/2006/relationships/tags" Target="../tags/tag167.xml"/><Relationship Id="rId1" Type="http://schemas.openxmlformats.org/officeDocument/2006/relationships/vmlDrawing" Target="../drawings/vmlDrawing79.vml"/><Relationship Id="rId6" Type="http://schemas.openxmlformats.org/officeDocument/2006/relationships/image" Target="../media/image6.emf"/><Relationship Id="rId5" Type="http://schemas.openxmlformats.org/officeDocument/2006/relationships/oleObject" Target="../embeddings/oleObject79.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0.xml"/><Relationship Id="rId7" Type="http://schemas.openxmlformats.org/officeDocument/2006/relationships/image" Target="../media/image7.png"/><Relationship Id="rId2" Type="http://schemas.openxmlformats.org/officeDocument/2006/relationships/tags" Target="../tags/tag169.xml"/><Relationship Id="rId1" Type="http://schemas.openxmlformats.org/officeDocument/2006/relationships/vmlDrawing" Target="../drawings/vmlDrawing80.vml"/><Relationship Id="rId6" Type="http://schemas.openxmlformats.org/officeDocument/2006/relationships/image" Target="../media/image6.emf"/><Relationship Id="rId5" Type="http://schemas.openxmlformats.org/officeDocument/2006/relationships/oleObject" Target="../embeddings/oleObject80.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2.xml"/><Relationship Id="rId7" Type="http://schemas.openxmlformats.org/officeDocument/2006/relationships/image" Target="../media/image7.png"/><Relationship Id="rId2" Type="http://schemas.openxmlformats.org/officeDocument/2006/relationships/tags" Target="../tags/tag171.xml"/><Relationship Id="rId1" Type="http://schemas.openxmlformats.org/officeDocument/2006/relationships/vmlDrawing" Target="../drawings/vmlDrawing81.vml"/><Relationship Id="rId6" Type="http://schemas.openxmlformats.org/officeDocument/2006/relationships/image" Target="../media/image6.emf"/><Relationship Id="rId5" Type="http://schemas.openxmlformats.org/officeDocument/2006/relationships/oleObject" Target="../embeddings/oleObject81.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6.xml"/><Relationship Id="rId7" Type="http://schemas.openxmlformats.org/officeDocument/2006/relationships/image" Target="../media/image7.png"/><Relationship Id="rId2" Type="http://schemas.openxmlformats.org/officeDocument/2006/relationships/tags" Target="../tags/tag175.xml"/><Relationship Id="rId1" Type="http://schemas.openxmlformats.org/officeDocument/2006/relationships/vmlDrawing" Target="../drawings/vmlDrawing82.vml"/><Relationship Id="rId6" Type="http://schemas.openxmlformats.org/officeDocument/2006/relationships/image" Target="../media/image6.emf"/><Relationship Id="rId5" Type="http://schemas.openxmlformats.org/officeDocument/2006/relationships/oleObject" Target="../embeddings/oleObject8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9.xml"/><Relationship Id="rId7" Type="http://schemas.openxmlformats.org/officeDocument/2006/relationships/image" Target="../media/image7.png"/><Relationship Id="rId2" Type="http://schemas.openxmlformats.org/officeDocument/2006/relationships/tags" Target="../tags/tag178.xml"/><Relationship Id="rId1" Type="http://schemas.openxmlformats.org/officeDocument/2006/relationships/vmlDrawing" Target="../drawings/vmlDrawing83.vml"/><Relationship Id="rId6" Type="http://schemas.openxmlformats.org/officeDocument/2006/relationships/image" Target="../media/image6.emf"/><Relationship Id="rId5" Type="http://schemas.openxmlformats.org/officeDocument/2006/relationships/oleObject" Target="../embeddings/oleObject83.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1.xml"/><Relationship Id="rId7" Type="http://schemas.openxmlformats.org/officeDocument/2006/relationships/image" Target="../media/image7.png"/><Relationship Id="rId2" Type="http://schemas.openxmlformats.org/officeDocument/2006/relationships/tags" Target="../tags/tag180.xml"/><Relationship Id="rId1" Type="http://schemas.openxmlformats.org/officeDocument/2006/relationships/vmlDrawing" Target="../drawings/vmlDrawing84.vml"/><Relationship Id="rId6" Type="http://schemas.openxmlformats.org/officeDocument/2006/relationships/image" Target="../media/image6.emf"/><Relationship Id="rId5" Type="http://schemas.openxmlformats.org/officeDocument/2006/relationships/oleObject" Target="../embeddings/oleObject84.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3.xml"/><Relationship Id="rId7" Type="http://schemas.openxmlformats.org/officeDocument/2006/relationships/image" Target="../media/image7.png"/><Relationship Id="rId2" Type="http://schemas.openxmlformats.org/officeDocument/2006/relationships/tags" Target="../tags/tag182.xml"/><Relationship Id="rId1" Type="http://schemas.openxmlformats.org/officeDocument/2006/relationships/vmlDrawing" Target="../drawings/vmlDrawing85.vml"/><Relationship Id="rId6" Type="http://schemas.openxmlformats.org/officeDocument/2006/relationships/image" Target="../media/image6.emf"/><Relationship Id="rId5" Type="http://schemas.openxmlformats.org/officeDocument/2006/relationships/oleObject" Target="../embeddings/oleObject85.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4.xml"/><Relationship Id="rId7" Type="http://schemas.openxmlformats.org/officeDocument/2006/relationships/image" Target="../media/image6.emf"/><Relationship Id="rId2" Type="http://schemas.openxmlformats.org/officeDocument/2006/relationships/vmlDrawing" Target="../drawings/vmlDrawing86.vml"/><Relationship Id="rId1" Type="http://schemas.openxmlformats.org/officeDocument/2006/relationships/themeOverride" Target="../theme/themeOverride9.xml"/><Relationship Id="rId6" Type="http://schemas.openxmlformats.org/officeDocument/2006/relationships/oleObject" Target="../embeddings/oleObject86.bin"/><Relationship Id="rId5" Type="http://schemas.openxmlformats.org/officeDocument/2006/relationships/slideMaster" Target="../slideMasters/slideMaster2.xml"/><Relationship Id="rId10" Type="http://schemas.openxmlformats.org/officeDocument/2006/relationships/image" Target="../media/image5.png"/><Relationship Id="rId4" Type="http://schemas.openxmlformats.org/officeDocument/2006/relationships/tags" Target="../tags/tag185.xml"/><Relationship Id="rId9"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7.xml"/><Relationship Id="rId7" Type="http://schemas.openxmlformats.org/officeDocument/2006/relationships/image" Target="../media/image7.png"/><Relationship Id="rId2" Type="http://schemas.openxmlformats.org/officeDocument/2006/relationships/tags" Target="../tags/tag186.xml"/><Relationship Id="rId1" Type="http://schemas.openxmlformats.org/officeDocument/2006/relationships/vmlDrawing" Target="../drawings/vmlDrawing87.vml"/><Relationship Id="rId6" Type="http://schemas.openxmlformats.org/officeDocument/2006/relationships/image" Target="../media/image6.emf"/><Relationship Id="rId5" Type="http://schemas.openxmlformats.org/officeDocument/2006/relationships/oleObject" Target="../embeddings/oleObject87.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9.xml"/><Relationship Id="rId7" Type="http://schemas.openxmlformats.org/officeDocument/2006/relationships/image" Target="../media/image7.png"/><Relationship Id="rId2" Type="http://schemas.openxmlformats.org/officeDocument/2006/relationships/tags" Target="../tags/tag188.xml"/><Relationship Id="rId1" Type="http://schemas.openxmlformats.org/officeDocument/2006/relationships/vmlDrawing" Target="../drawings/vmlDrawing88.vml"/><Relationship Id="rId6" Type="http://schemas.openxmlformats.org/officeDocument/2006/relationships/image" Target="../media/image6.emf"/><Relationship Id="rId5" Type="http://schemas.openxmlformats.org/officeDocument/2006/relationships/oleObject" Target="../embeddings/oleObject88.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91.xml"/><Relationship Id="rId7" Type="http://schemas.openxmlformats.org/officeDocument/2006/relationships/image" Target="../media/image7.png"/><Relationship Id="rId2" Type="http://schemas.openxmlformats.org/officeDocument/2006/relationships/tags" Target="../tags/tag190.xml"/><Relationship Id="rId1" Type="http://schemas.openxmlformats.org/officeDocument/2006/relationships/vmlDrawing" Target="../drawings/vmlDrawing89.vml"/><Relationship Id="rId6" Type="http://schemas.openxmlformats.org/officeDocument/2006/relationships/image" Target="../media/image6.emf"/><Relationship Id="rId5" Type="http://schemas.openxmlformats.org/officeDocument/2006/relationships/oleObject" Target="../embeddings/oleObject89.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3.xml"/><Relationship Id="rId7" Type="http://schemas.openxmlformats.org/officeDocument/2006/relationships/image" Target="../media/image8.png"/><Relationship Id="rId2" Type="http://schemas.openxmlformats.org/officeDocument/2006/relationships/tags" Target="../tags/tag192.xml"/><Relationship Id="rId1" Type="http://schemas.openxmlformats.org/officeDocument/2006/relationships/vmlDrawing" Target="../drawings/vmlDrawing90.vml"/><Relationship Id="rId6" Type="http://schemas.openxmlformats.org/officeDocument/2006/relationships/image" Target="../media/image6.emf"/><Relationship Id="rId5" Type="http://schemas.openxmlformats.org/officeDocument/2006/relationships/oleObject" Target="../embeddings/oleObject90.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5.xml"/><Relationship Id="rId7" Type="http://schemas.openxmlformats.org/officeDocument/2006/relationships/image" Target="../media/image8.png"/><Relationship Id="rId2" Type="http://schemas.openxmlformats.org/officeDocument/2006/relationships/tags" Target="../tags/tag194.xml"/><Relationship Id="rId1" Type="http://schemas.openxmlformats.org/officeDocument/2006/relationships/vmlDrawing" Target="../drawings/vmlDrawing91.vml"/><Relationship Id="rId6" Type="http://schemas.openxmlformats.org/officeDocument/2006/relationships/image" Target="../media/image6.emf"/><Relationship Id="rId5" Type="http://schemas.openxmlformats.org/officeDocument/2006/relationships/oleObject" Target="../embeddings/oleObject91.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7.xml"/><Relationship Id="rId7" Type="http://schemas.openxmlformats.org/officeDocument/2006/relationships/image" Target="../media/image8.png"/><Relationship Id="rId2" Type="http://schemas.openxmlformats.org/officeDocument/2006/relationships/tags" Target="../tags/tag196.xml"/><Relationship Id="rId1" Type="http://schemas.openxmlformats.org/officeDocument/2006/relationships/vmlDrawing" Target="../drawings/vmlDrawing92.vml"/><Relationship Id="rId6" Type="http://schemas.openxmlformats.org/officeDocument/2006/relationships/image" Target="../media/image6.emf"/><Relationship Id="rId5" Type="http://schemas.openxmlformats.org/officeDocument/2006/relationships/oleObject" Target="../embeddings/oleObject92.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9.xml"/><Relationship Id="rId7" Type="http://schemas.openxmlformats.org/officeDocument/2006/relationships/image" Target="../media/image8.png"/><Relationship Id="rId2" Type="http://schemas.openxmlformats.org/officeDocument/2006/relationships/tags" Target="../tags/tag198.xml"/><Relationship Id="rId1" Type="http://schemas.openxmlformats.org/officeDocument/2006/relationships/vmlDrawing" Target="../drawings/vmlDrawing93.vml"/><Relationship Id="rId6" Type="http://schemas.openxmlformats.org/officeDocument/2006/relationships/image" Target="../media/image6.emf"/><Relationship Id="rId5" Type="http://schemas.openxmlformats.org/officeDocument/2006/relationships/oleObject" Target="../embeddings/oleObject93.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652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lvl="0"/>
            <a:endParaRPr lang="en-US" sz="1600" b="0" noProof="0" dirty="0">
              <a:solidFill>
                <a:srgbClr val="FFFFFF"/>
              </a:solidFill>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9" name="Title 1"/>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23" name="Subtitle 2"/>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29" name="Text Placeholder 13"/>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31" name="Picture 3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 name="Picture 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91491" y="5585561"/>
            <a:ext cx="834198" cy="417099"/>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82544261-8049-494B-A93D-BDFF1BB84722}"/>
              </a:ext>
            </a:extLst>
          </p:cNvPr>
          <p:cNvSpPr>
            <a:spLocks noGrp="1"/>
          </p:cNvSpPr>
          <p:nvPr>
            <p:ph type="title" hasCustomPrompt="1"/>
          </p:nvPr>
        </p:nvSpPr>
        <p:spPr>
          <a:xfrm>
            <a:off x="635000" y="3135207"/>
            <a:ext cx="4886854" cy="587584"/>
          </a:xfrm>
          <a:prstGeom prst="rect">
            <a:avLst/>
          </a:prstGeom>
        </p:spPr>
        <p:txBody>
          <a:bodyPr vert="horz" lIns="91440" tIns="45720" rIns="91440" bIns="45720" rtlCol="0" anchor="ctr">
            <a:normAutofit/>
          </a:bodyPr>
          <a:lstStyle>
            <a:lvl1pPr algn="ctr">
              <a:defRPr cap="all" baseline="0"/>
            </a:lvl1pPr>
          </a:lstStyle>
          <a:p>
            <a:r>
              <a:rPr lang="en-US" noProof="0" dirty="0"/>
              <a:t>Title goes here</a:t>
            </a:r>
          </a:p>
        </p:txBody>
      </p:sp>
      <p:sp>
        <p:nvSpPr>
          <p:cNvPr id="12" name="Content Placeholder 3">
            <a:extLst>
              <a:ext uri="{FF2B5EF4-FFF2-40B4-BE49-F238E27FC236}">
                <a16:creationId xmlns:a16="http://schemas.microsoft.com/office/drawing/2014/main" id="{9214786D-83EE-814C-A5E4-D0EC7D29D0C4}"/>
              </a:ext>
            </a:extLst>
          </p:cNvPr>
          <p:cNvSpPr>
            <a:spLocks noGrp="1"/>
          </p:cNvSpPr>
          <p:nvPr>
            <p:ph sz="half" idx="2"/>
          </p:nvPr>
        </p:nvSpPr>
        <p:spPr>
          <a:xfrm>
            <a:off x="5575829" y="878114"/>
            <a:ext cx="5981171" cy="5101772"/>
          </a:xfrm>
        </p:spPr>
        <p:txBody>
          <a:bodyPr anchor="ctr">
            <a:normAutofit/>
          </a:bodyPr>
          <a:lstStyle>
            <a:lvl1pPr marL="342900" indent="-342900">
              <a:buClr>
                <a:schemeClr val="tx1"/>
              </a:buClr>
              <a:buFont typeface="+mj-lt"/>
              <a:buAutoNum type="arabicPeriod"/>
              <a:defRPr sz="1600" b="0">
                <a:solidFill>
                  <a:schemeClr val="tx1"/>
                </a:solidFill>
              </a:defRPr>
            </a:lvl1pPr>
            <a:lvl2pPr marL="544068" indent="-342900">
              <a:buClr>
                <a:schemeClr val="tx1"/>
              </a:buClr>
              <a:buFont typeface="+mj-lt"/>
              <a:buAutoNum type="arabicPeriod"/>
              <a:defRPr sz="1400" b="0">
                <a:solidFill>
                  <a:schemeClr val="tx1"/>
                </a:solidFill>
              </a:defRPr>
            </a:lvl2pPr>
            <a:lvl3pPr marL="612648" indent="-228600">
              <a:buClr>
                <a:schemeClr val="tx1"/>
              </a:buClr>
              <a:buFont typeface="+mj-lt"/>
              <a:buAutoNum type="arabicPeriod"/>
              <a:defRPr sz="1100" b="0">
                <a:solidFill>
                  <a:schemeClr val="tx1"/>
                </a:solidFill>
              </a:defRPr>
            </a:lvl3pPr>
            <a:lvl4pPr marL="795528" indent="-228600">
              <a:buClr>
                <a:schemeClr val="tx1"/>
              </a:buClr>
              <a:buFont typeface="+mj-lt"/>
              <a:buAutoNum type="arabicPeriod"/>
              <a:defRPr sz="1100" b="0">
                <a:solidFill>
                  <a:schemeClr val="tx1"/>
                </a:solidFill>
              </a:defRPr>
            </a:lvl4pPr>
            <a:lvl5pPr marL="978408" indent="-228600">
              <a:buClr>
                <a:schemeClr val="tx1"/>
              </a:buClr>
              <a:buFont typeface="+mj-lt"/>
              <a:buAutoNum type="arabicPeriod"/>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48626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509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4"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400051" y="1785600"/>
            <a:ext cx="647750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29488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082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00051" y="2764203"/>
            <a:ext cx="2708587" cy="1314311"/>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dirty="0">
                <a:solidFill>
                  <a:schemeClr val="tx2"/>
                </a:solidFill>
              </a:rPr>
              <a:t>Click to</a:t>
            </a:r>
            <a:br>
              <a:rPr lang="en-US" dirty="0">
                <a:solidFill>
                  <a:schemeClr val="tx2"/>
                </a:solidFill>
              </a:rPr>
            </a:br>
            <a:r>
              <a:rPr lang="en-US" dirty="0">
                <a:solidFill>
                  <a:schemeClr val="tx2"/>
                </a:solidFill>
              </a:rPr>
              <a:t>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934030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59022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2764203"/>
            <a:ext cx="2708587" cy="1314311"/>
          </a:xfrm>
        </p:spPr>
        <p:txBody>
          <a:bodyPr vert="horz" anchor="ctr" anchorCtr="0">
            <a:noAutofit/>
          </a:bodyPr>
          <a:lstStyle>
            <a:lvl1pPr>
              <a:defRPr sz="3000" baseline="0">
                <a:solidFill>
                  <a:srgbClr val="FFFFFF"/>
                </a:solidFill>
                <a:latin typeface="+mj-lt"/>
                <a:ea typeface="+mj-ea"/>
                <a:cs typeface="+mj-cs"/>
              </a:defRPr>
            </a:lvl1pPr>
          </a:lstStyle>
          <a:p>
            <a:r>
              <a:rPr lang="en-US" dirty="0"/>
              <a:t>Click to</a:t>
            </a:r>
            <a:br>
              <a:rPr lang="en-US" dirty="0"/>
            </a:br>
            <a:r>
              <a:rPr lang="en-US" dirty="0"/>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54920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208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22" name="Oval 21"/>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3" name="Picture 2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8" name="Picture 1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65916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274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269344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096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9" name="Picture 1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58864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957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58893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067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954867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1348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68403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510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1" name="Oval 10"/>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84492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14352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286" imgH="286" progId="TCLayout.ActiveDocument.1">
                  <p:embed/>
                </p:oleObj>
              </mc:Choice>
              <mc:Fallback>
                <p:oleObj name="think-cell Slide" r:id="rId5" imgW="286" imgH="28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a:extLst>
              <a:ext uri="{FF2B5EF4-FFF2-40B4-BE49-F238E27FC236}">
                <a16:creationId xmlns:a16="http://schemas.microsoft.com/office/drawing/2014/main" id="{2E148DD3-DD87-154B-80B4-2421965D3C83}"/>
              </a:ext>
            </a:extLst>
          </p:cNvPr>
          <p:cNvSpPr/>
          <p:nvPr userDrawn="1"/>
        </p:nvSpPr>
        <p:spPr>
          <a:xfrm>
            <a:off x="1" y="1714500"/>
            <a:ext cx="12192000" cy="3429000"/>
          </a:xfrm>
          <a:prstGeom prst="rect">
            <a:avLst/>
          </a:prstGeom>
          <a:solidFill>
            <a:srgbClr val="0A3161"/>
          </a:solidFill>
          <a:ln w="12700">
            <a:miter lim="400000"/>
          </a:ln>
        </p:spPr>
        <p:txBody>
          <a:bodyPr lIns="0" tIns="0" rIns="0" bIns="0" anchor="ctr"/>
          <a:lstStyle/>
          <a:p>
            <a:pPr lvl="0"/>
            <a:endParaRPr lang="en-US" sz="1600" b="0" noProof="0" dirty="0">
              <a:solidFill>
                <a:srgbClr val="FFFFFF"/>
              </a:solidFill>
            </a:endParaRPr>
          </a:p>
        </p:txBody>
      </p:sp>
      <p:sp>
        <p:nvSpPr>
          <p:cNvPr id="6" name="Rectangle">
            <a:extLst>
              <a:ext uri="{FF2B5EF4-FFF2-40B4-BE49-F238E27FC236}">
                <a16:creationId xmlns:a16="http://schemas.microsoft.com/office/drawing/2014/main" id="{742E4732-0E8F-7B46-BD08-0F2EE0DA8786}"/>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7" name="Title Placeholder 1">
            <a:extLst>
              <a:ext uri="{FF2B5EF4-FFF2-40B4-BE49-F238E27FC236}">
                <a16:creationId xmlns:a16="http://schemas.microsoft.com/office/drawing/2014/main" id="{6E73F81A-7260-5C4F-A7FF-CA2CC731BC33}"/>
              </a:ext>
            </a:extLst>
          </p:cNvPr>
          <p:cNvSpPr>
            <a:spLocks noGrp="1"/>
          </p:cNvSpPr>
          <p:nvPr>
            <p:ph type="title" hasCustomPrompt="1"/>
          </p:nvPr>
        </p:nvSpPr>
        <p:spPr>
          <a:xfrm>
            <a:off x="5443870" y="942871"/>
            <a:ext cx="5711810" cy="587584"/>
          </a:xfrm>
          <a:prstGeom prst="rect">
            <a:avLst/>
          </a:prstGeom>
        </p:spPr>
        <p:txBody>
          <a:bodyPr vert="horz" lIns="91440" tIns="45720" rIns="91440" bIns="45720" rtlCol="0" anchor="ctr">
            <a:noAutofit/>
          </a:bodyPr>
          <a:lstStyle>
            <a:lvl1pPr>
              <a:defRPr sz="2400"/>
            </a:lvl1pPr>
          </a:lstStyle>
          <a:p>
            <a:r>
              <a:rPr lang="en-US" noProof="0" dirty="0"/>
              <a:t>CLICK TO EDIT MASTER TITLE STYLE</a:t>
            </a:r>
          </a:p>
        </p:txBody>
      </p:sp>
      <p:sp>
        <p:nvSpPr>
          <p:cNvPr id="12" name="Content Placeholder 2"/>
          <p:cNvSpPr>
            <a:spLocks noGrp="1"/>
          </p:cNvSpPr>
          <p:nvPr>
            <p:ph idx="15"/>
          </p:nvPr>
        </p:nvSpPr>
        <p:spPr>
          <a:xfrm>
            <a:off x="5443870" y="1973589"/>
            <a:ext cx="5711810" cy="3941540"/>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2"/>
          <p:cNvSpPr>
            <a:spLocks noGrp="1"/>
          </p:cNvSpPr>
          <p:nvPr>
            <p:ph idx="11"/>
          </p:nvPr>
        </p:nvSpPr>
        <p:spPr>
          <a:xfrm>
            <a:off x="605170" y="621039"/>
            <a:ext cx="4589130" cy="5603086"/>
          </a:xfrm>
          <a:solidFill>
            <a:srgbClr val="EDEFF7"/>
          </a:solidFill>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1" name="TextBox 2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74437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74029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dirty="0"/>
              <a:t>Click to add big statement text</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00907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F243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9053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79648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335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400051" y="387882"/>
            <a:ext cx="9976848" cy="566735"/>
          </a:xfrm>
        </p:spPr>
        <p:txBody>
          <a:bodyPr vert="horz"/>
          <a:lstStyle>
            <a:lvl1pPr>
              <a:defRPr sz="30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9310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26152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91947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473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6" name="Oval 15"/>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62318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3031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186313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509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2773629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657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5" name="TextBox 5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210193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213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EB418D-BF89-45FF-9A32-925AD834A441}"/>
              </a:ext>
            </a:extLst>
          </p:cNvPr>
          <p:cNvSpPr/>
          <p:nvPr userDrawn="1">
            <p:custDataLst>
              <p:tags r:id="rId3"/>
            </p:custDataLst>
          </p:nvPr>
        </p:nvSpPr>
        <p:spPr>
          <a:xfrm>
            <a:off x="0" y="0"/>
            <a:ext cx="158750" cy="158750"/>
          </a:xfrm>
          <a:prstGeom prst="rect">
            <a:avLst/>
          </a:prstGeom>
          <a:solidFill>
            <a:srgbClr val="0A3161"/>
          </a:solidFill>
          <a:ln w="9525" cap="rnd" cmpd="sng" algn="ctr">
            <a:solidFill>
              <a:srgbClr val="0A316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0" baseline="0" dirty="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hidden="1"/>
          <p:cNvSpPr/>
          <p:nvPr userDrawn="1">
            <p:custDataLst>
              <p:tags r:id="rId4"/>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1" name="Rectangle">
            <a:extLst>
              <a:ext uri="{FF2B5EF4-FFF2-40B4-BE49-F238E27FC236}">
                <a16:creationId xmlns:a16="http://schemas.microsoft.com/office/drawing/2014/main" id="{6A08E9EE-D0D1-4E44-AC19-F1C9DEDB4EA7}"/>
              </a:ext>
            </a:extLst>
          </p:cNvPr>
          <p:cNvSpPr/>
          <p:nvPr userDrawn="1"/>
        </p:nvSpPr>
        <p:spPr>
          <a:xfrm flipH="1">
            <a:off x="-1" y="4450188"/>
            <a:ext cx="12192000" cy="2407811"/>
          </a:xfrm>
          <a:prstGeom prst="rect">
            <a:avLst/>
          </a:prstGeom>
          <a:solidFill>
            <a:srgbClr val="0A3160"/>
          </a:solidFill>
          <a:ln w="12700">
            <a:miter lim="400000"/>
          </a:ln>
        </p:spPr>
        <p:txBody>
          <a:bodyPr lIns="0" tIns="0" rIns="0" bIns="0" anchor="ctr"/>
          <a:lstStyle/>
          <a:p>
            <a:pPr lvl="0"/>
            <a:endParaRPr lang="en-US" sz="1600" b="0" noProof="0" dirty="0">
              <a:solidFill>
                <a:srgbClr val="FFFFFF"/>
              </a:solidFill>
            </a:endParaRPr>
          </a:p>
        </p:txBody>
      </p:sp>
      <p:sp>
        <p:nvSpPr>
          <p:cNvPr id="12" name="Rectangle">
            <a:extLst>
              <a:ext uri="{FF2B5EF4-FFF2-40B4-BE49-F238E27FC236}">
                <a16:creationId xmlns:a16="http://schemas.microsoft.com/office/drawing/2014/main" id="{1EF87EFA-95C8-4D1F-8DC4-932771BF24BD}"/>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3" name="Title 1">
            <a:extLst>
              <a:ext uri="{FF2B5EF4-FFF2-40B4-BE49-F238E27FC236}">
                <a16:creationId xmlns:a16="http://schemas.microsoft.com/office/drawing/2014/main" id="{62712E20-6489-49CA-9AC7-122B587161EB}"/>
              </a:ext>
            </a:extLst>
          </p:cNvPr>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16" name="Subtitle 2">
            <a:extLst>
              <a:ext uri="{FF2B5EF4-FFF2-40B4-BE49-F238E27FC236}">
                <a16:creationId xmlns:a16="http://schemas.microsoft.com/office/drawing/2014/main" id="{B85FD3F6-CD13-4768-86AD-FCC6B69DAEB3}"/>
              </a:ext>
            </a:extLst>
          </p:cNvPr>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17" name="Text Placeholder 13">
            <a:extLst>
              <a:ext uri="{FF2B5EF4-FFF2-40B4-BE49-F238E27FC236}">
                <a16:creationId xmlns:a16="http://schemas.microsoft.com/office/drawing/2014/main" id="{BB94F6E8-F526-412C-B16B-0659AA782044}"/>
              </a:ext>
            </a:extLst>
          </p:cNvPr>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23" name="Picture 22">
            <a:extLst>
              <a:ext uri="{FF2B5EF4-FFF2-40B4-BE49-F238E27FC236}">
                <a16:creationId xmlns:a16="http://schemas.microsoft.com/office/drawing/2014/main" id="{5F260695-44BF-4D02-9345-63778EF3370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24" name="TextBox 23">
            <a:extLst>
              <a:ext uri="{FF2B5EF4-FFF2-40B4-BE49-F238E27FC236}">
                <a16:creationId xmlns:a16="http://schemas.microsoft.com/office/drawing/2014/main" id="{51D6A575-B211-48B1-BB91-4CB3C3D015DE}"/>
              </a:ext>
            </a:extLst>
          </p:cNvPr>
          <p:cNvSpPr txBox="1"/>
          <p:nvPr userDrawn="1">
            <p:custDataLst>
              <p:tags r:id="rId5"/>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5" name="Picture 24">
            <a:extLst>
              <a:ext uri="{FF2B5EF4-FFF2-40B4-BE49-F238E27FC236}">
                <a16:creationId xmlns:a16="http://schemas.microsoft.com/office/drawing/2014/main" id="{C2FEBF33-CCF6-41D9-A096-DFEB071172BE}"/>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5" name="Picture 1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91491" y="5570053"/>
            <a:ext cx="896232" cy="448116"/>
          </a:xfrm>
          <a:prstGeom prst="rect">
            <a:avLst/>
          </a:prstGeom>
        </p:spPr>
      </p:pic>
    </p:spTree>
    <p:extLst>
      <p:ext uri="{BB962C8B-B14F-4D97-AF65-F5344CB8AC3E}">
        <p14:creationId xmlns:p14="http://schemas.microsoft.com/office/powerpoint/2010/main" val="4003765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4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400051" y="387882"/>
            <a:ext cx="9976848" cy="566735"/>
          </a:xfr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22"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57130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060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a:extLst>
              <a:ext uri="{FF2B5EF4-FFF2-40B4-BE49-F238E27FC236}">
                <a16:creationId xmlns:a16="http://schemas.microsoft.com/office/drawing/2014/main" id="{9C88DF2D-0421-A94C-82C1-867E1E5E4907}"/>
              </a:ext>
            </a:extLst>
          </p:cNvPr>
          <p:cNvSpPr/>
          <p:nvPr userDrawn="1"/>
        </p:nvSpPr>
        <p:spPr>
          <a:xfrm>
            <a:off x="10993582" y="0"/>
            <a:ext cx="1198418" cy="6858000"/>
          </a:xfrm>
          <a:prstGeom prst="rect">
            <a:avLst/>
          </a:prstGeom>
          <a:solidFill>
            <a:srgbClr val="0A3161"/>
          </a:solidFill>
          <a:ln w="12700">
            <a:miter lim="400000"/>
          </a:ln>
        </p:spPr>
        <p:txBody>
          <a:bodyPr lIns="0" tIns="0" rIns="0" bIns="0" anchor="ctr"/>
          <a:lstStyle/>
          <a:p>
            <a:pPr lvl="0"/>
            <a:endParaRPr lang="en-US" sz="1600" b="0" noProof="0" dirty="0">
              <a:solidFill>
                <a:srgbClr val="FFFFFF"/>
              </a:solidFill>
            </a:endParaRPr>
          </a:p>
        </p:txBody>
      </p:sp>
      <p:sp>
        <p:nvSpPr>
          <p:cNvPr id="10" name="Rectangle">
            <a:extLst>
              <a:ext uri="{FF2B5EF4-FFF2-40B4-BE49-F238E27FC236}">
                <a16:creationId xmlns:a16="http://schemas.microsoft.com/office/drawing/2014/main" id="{334D05A3-7A20-9447-8D39-F2980D85413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8" name="Rectangle 7">
            <a:extLst>
              <a:ext uri="{FF2B5EF4-FFF2-40B4-BE49-F238E27FC236}">
                <a16:creationId xmlns:a16="http://schemas.microsoft.com/office/drawing/2014/main" id="{DA134939-39C0-4522-A125-A13DFDA66490}"/>
              </a:ext>
            </a:extLst>
          </p:cNvPr>
          <p:cNvSpPr/>
          <p:nvPr/>
        </p:nvSpPr>
        <p:spPr>
          <a:xfrm>
            <a:off x="634999" y="3927894"/>
            <a:ext cx="10922000" cy="2326856"/>
          </a:xfrm>
          <a:prstGeom prst="rect">
            <a:avLst/>
          </a:prstGeom>
          <a:solidFill>
            <a:srgbClr val="F6F9F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 name="Picture Placeholder 2"/>
          <p:cNvSpPr>
            <a:spLocks noGrp="1" noChangeAspect="1"/>
          </p:cNvSpPr>
          <p:nvPr>
            <p:ph type="pic" idx="1"/>
          </p:nvPr>
        </p:nvSpPr>
        <p:spPr>
          <a:xfrm>
            <a:off x="635001" y="603250"/>
            <a:ext cx="10921998" cy="3294019"/>
          </a:xfrm>
          <a:solidFill>
            <a:schemeClr val="bg1"/>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dirty="0"/>
              <a:t>Click icon to add picture</a:t>
            </a:r>
          </a:p>
        </p:txBody>
      </p:sp>
      <p:sp>
        <p:nvSpPr>
          <p:cNvPr id="2" name="Title 1"/>
          <p:cNvSpPr>
            <a:spLocks noGrp="1"/>
          </p:cNvSpPr>
          <p:nvPr>
            <p:ph type="title"/>
          </p:nvPr>
        </p:nvSpPr>
        <p:spPr>
          <a:xfrm>
            <a:off x="1097279" y="4298078"/>
            <a:ext cx="10113645" cy="743682"/>
          </a:xfrm>
          <a:prstGeom prst="rect">
            <a:avLst/>
          </a:prstGeom>
        </p:spPr>
        <p:txBody>
          <a:bodyPr vert="horz" tIns="0" bIns="0" anchor="b">
            <a:noAutofit/>
          </a:bodyPr>
          <a:lstStyle>
            <a:lvl1pPr>
              <a:defRPr sz="3600" b="0">
                <a:solidFill>
                  <a:schemeClr val="tx1"/>
                </a:solidFill>
              </a:defRPr>
            </a:lvl1pPr>
          </a:lstStyle>
          <a:p>
            <a:r>
              <a:rPr lang="en-US" noProof="0"/>
              <a:t>Click to edit Master title style</a:t>
            </a:r>
          </a:p>
        </p:txBody>
      </p:sp>
      <p:sp>
        <p:nvSpPr>
          <p:cNvPr id="4" name="Text Placeholder 3"/>
          <p:cNvSpPr>
            <a:spLocks noGrp="1"/>
          </p:cNvSpPr>
          <p:nvPr>
            <p:ph type="body" sz="half" idx="2" hasCustomPrompt="1"/>
          </p:nvPr>
        </p:nvSpPr>
        <p:spPr>
          <a:xfrm>
            <a:off x="1097279" y="5213716"/>
            <a:ext cx="10113264" cy="609600"/>
          </a:xfrm>
        </p:spPr>
        <p:txBody>
          <a:bodyPr lIns="0" tIns="0" rIns="0" bIns="0">
            <a:normAutofit/>
          </a:bodyPr>
          <a:lstStyle>
            <a:lvl1pPr marL="0" indent="0">
              <a:spcBef>
                <a:spcPts val="0"/>
              </a:spcBef>
              <a:spcAft>
                <a:spcPts val="600"/>
              </a:spcAft>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5" name="Oval 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20" name="Picture 1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95712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654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A3161"/>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9"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56234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499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dirty="0">
              <a:solidFill>
                <a:schemeClr val="bg1"/>
              </a:solidFill>
              <a:sym typeface="Trebuchet MS" panose="020B0603020202020204" pitchFamily="34" charset="0"/>
            </a:endParaRPr>
          </a:p>
        </p:txBody>
      </p:sp>
      <p:sp>
        <p:nvSpPr>
          <p:cNvPr id="8" name="Subtitle 2"/>
          <p:cNvSpPr>
            <a:spLocks noGrp="1"/>
          </p:cNvSpPr>
          <p:nvPr>
            <p:ph type="subTitle" idx="13" hasCustomPrompt="1"/>
          </p:nvPr>
        </p:nvSpPr>
        <p:spPr>
          <a:xfrm>
            <a:off x="400051" y="2158987"/>
            <a:ext cx="3973949" cy="541687"/>
          </a:xfrm>
          <a:prstGeom prst="rect">
            <a:avLst/>
          </a:prstGeom>
        </p:spPr>
        <p:txBody>
          <a:bodyPr>
            <a:noAutofit/>
          </a:bodyPr>
          <a:lstStyle>
            <a:lvl1pPr marL="0" indent="0" algn="l">
              <a:buNone/>
              <a:defRPr sz="1600">
                <a:solidFill>
                  <a:srgbClr val="0A316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00051" y="1227048"/>
            <a:ext cx="3973949" cy="664797"/>
          </a:xfrm>
        </p:spPr>
        <p:txBody>
          <a:bodyPr vert="horz" anchor="t">
            <a:noAutofit/>
          </a:bodyPr>
          <a:lstStyle>
            <a:lvl1pPr>
              <a:defRPr sz="3000">
                <a:solidFill>
                  <a:srgbClr val="0A316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541562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761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A316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828675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594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A316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9" name="TextBox 8">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81950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1214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6" name="TextBox 15"/>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47023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64484"/>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6083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506478"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9207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7173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8331533"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8839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9262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609461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902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6186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797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400051" y="1785600"/>
            <a:ext cx="6478437"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88771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583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387882"/>
            <a:ext cx="9976848"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sp>
        <p:nvSpPr>
          <p:cNvPr id="20"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4519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A316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2545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092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6448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2764203"/>
            <a:ext cx="2708587" cy="1314311"/>
          </a:xfrm>
        </p:spPr>
        <p:txBody>
          <a:bodyPr vert="horz" anchor="ctr" anchorCtr="0">
            <a:noAutofit/>
          </a:bodyPr>
          <a:lstStyle>
            <a:lvl1pPr>
              <a:defRPr>
                <a:solidFill>
                  <a:srgbClr val="FFFFFF"/>
                </a:solidFill>
                <a:latin typeface="+mj-lt"/>
                <a:ea typeface="+mj-ea"/>
                <a:cs typeface="+mj-cs"/>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25925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862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03546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4966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78368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773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06714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6102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331990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294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39505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243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109141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9058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25255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58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dirty="0"/>
              <a:t>Click to add big statement text</a:t>
            </a: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927550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8487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00051" y="387882"/>
            <a:ext cx="9976848" cy="566735"/>
          </a:xfrm>
        </p:spPr>
        <p:txBody>
          <a:bodyPr vert="horz"/>
          <a:lstStyle>
            <a:lvl1pPr>
              <a:defRPr sz="3000">
                <a:solidFill>
                  <a:srgbClr val="0A3161"/>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300034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F243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8211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45977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2743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9976848" cy="566735"/>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147482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858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dirty="0">
                <a:solidFill>
                  <a:srgbClr val="0A316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9" name="Picture 1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40653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741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7" name="TextBox 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2584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166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8" name="Picture 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663101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899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67766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823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183141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1998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0" name="TextBox 4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458987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5256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799769" y="1115416"/>
            <a:ext cx="3108543" cy="881780"/>
          </a:xfrm>
          <a:prstGeom prst="rect">
            <a:avLst/>
          </a:prstGeom>
          <a:noFill/>
        </p:spPr>
        <p:txBody>
          <a:bodyPr wrap="none" rtlCol="0">
            <a:spAutoFit/>
          </a:bodyPr>
          <a:lstStyle/>
          <a:p>
            <a:pPr algn="ctr" fontAlgn="auto">
              <a:lnSpc>
                <a:spcPct val="95000"/>
              </a:lnSpc>
              <a:spcBef>
                <a:spcPts val="0"/>
              </a:spcBef>
              <a:spcAft>
                <a:spcPts val="0"/>
              </a:spcAft>
            </a:pPr>
            <a:r>
              <a:rPr lang="en-US" sz="5400" cap="all" baseline="0" dirty="0">
                <a:solidFill>
                  <a:schemeClr val="bg1"/>
                </a:solidFill>
                <a:latin typeface="+mn-lt"/>
                <a:ea typeface="+mn-ea"/>
                <a:cs typeface="+mn-cs"/>
              </a:rPr>
              <a:t>Agenda</a:t>
            </a:r>
          </a:p>
        </p:txBody>
      </p:sp>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23" name="Oval 2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4" name="Picture 2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130432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3628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9291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912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dirty="0">
              <a:solidFill>
                <a:schemeClr val="bg1"/>
              </a:solidFill>
            </a:endParaRPr>
          </a:p>
        </p:txBody>
      </p:sp>
      <p:sp>
        <p:nvSpPr>
          <p:cNvPr id="9" name="Title 1"/>
          <p:cNvSpPr>
            <a:spLocks noGrp="1"/>
          </p:cNvSpPr>
          <p:nvPr>
            <p:ph type="title" hasCustomPrompt="1"/>
          </p:nvPr>
        </p:nvSpPr>
        <p:spPr bwMode="ltGray">
          <a:xfrm>
            <a:off x="400051" y="1544274"/>
            <a:ext cx="3682349" cy="1495794"/>
          </a:xfrm>
          <a:noFill/>
        </p:spPr>
        <p:txBody>
          <a:bodyPr vert="horz" wrap="square" lIns="0" tIns="0" rIns="320040" bIns="0" anchor="b">
            <a:noAutofit/>
          </a:bodyPr>
          <a:lstStyle>
            <a:lvl1pPr>
              <a:defRPr sz="3000">
                <a:solidFill>
                  <a:srgbClr val="0A3161"/>
                </a:solidFill>
                <a:latin typeface="+mj-lt"/>
                <a:ea typeface="+mj-ea"/>
                <a:cs typeface="+mj-cs"/>
              </a:defRPr>
            </a:lvl1pPr>
          </a:lstStyle>
          <a:p>
            <a:r>
              <a:rPr lang="en-US" dirty="0"/>
              <a:t>Click to</a:t>
            </a:r>
            <a:br>
              <a:rPr lang="en-US" dirty="0"/>
            </a:br>
            <a:r>
              <a:rPr lang="en-US" dirty="0"/>
              <a:t>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7584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54119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503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400051" y="3207401"/>
            <a:ext cx="1623842" cy="415498"/>
          </a:xfrm>
          <a:prstGeom prst="rect">
            <a:avLst/>
          </a:prstGeom>
          <a:noFill/>
        </p:spPr>
        <p:txBody>
          <a:bodyPr wrap="none" lIns="0" tIns="0" rIns="0" bIns="0" rtlCol="0" anchor="t">
            <a:spAutoFit/>
          </a:bodyPr>
          <a:lstStyle/>
          <a:p>
            <a:pPr>
              <a:lnSpc>
                <a:spcPct val="90000"/>
              </a:lnSpc>
              <a:spcAft>
                <a:spcPts val="600"/>
              </a:spcAft>
            </a:pPr>
            <a:r>
              <a:rPr lang="en-US" sz="3000" cap="all" baseline="0" dirty="0">
                <a:solidFill>
                  <a:schemeClr val="bg1"/>
                </a:solidFill>
                <a:latin typeface="+mn-lt"/>
                <a:ea typeface="+mn-ea"/>
                <a:cs typeface="+mn-cs"/>
              </a:rPr>
              <a:t>Agenda</a:t>
            </a:r>
          </a:p>
        </p:txBody>
      </p:sp>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564470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0466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559AED"/>
            </a:solidFill>
            <a:prstDash val="solid"/>
            <a:miter lim="800000"/>
          </a:ln>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559AED"/>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799769" y="1115416"/>
            <a:ext cx="310854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cap="all" baseline="0" dirty="0">
                <a:solidFill>
                  <a:srgbClr val="559AED"/>
                </a:solidFill>
                <a:latin typeface="+mn-lt"/>
                <a:ea typeface="+mn-ea"/>
                <a:cs typeface="+mn-cs"/>
              </a:rPr>
              <a:t>Agend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83922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5107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278511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8860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dirty="0">
                <a:solidFill>
                  <a:srgbClr val="559AED"/>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672170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1987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400051" y="3221251"/>
            <a:ext cx="1853791" cy="415498"/>
          </a:xfrm>
          <a:prstGeom prst="rect">
            <a:avLst/>
          </a:prstGeom>
          <a:noFill/>
        </p:spPr>
        <p:txBody>
          <a:bodyPr wrap="none" lIns="0" tIns="0" rIns="0" bIns="0" rtlCol="0" anchor="t">
            <a:spAutoFit/>
          </a:bodyPr>
          <a:lstStyle/>
          <a:p>
            <a:pPr>
              <a:lnSpc>
                <a:spcPct val="90000"/>
              </a:lnSpc>
              <a:spcAft>
                <a:spcPts val="600"/>
              </a:spcAft>
            </a:pPr>
            <a:r>
              <a:rPr lang="en-US" sz="3000" cap="all" baseline="0" dirty="0">
                <a:solidFill>
                  <a:schemeClr val="bg1"/>
                </a:solidFill>
                <a:latin typeface="+mn-lt"/>
                <a:ea typeface="+mn-ea"/>
                <a:cs typeface="+mn-cs"/>
              </a:rPr>
              <a:t>Agenda</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09887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051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dirty="0">
                <a:solidFill>
                  <a:srgbClr val="559AED"/>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9" name="Oval 18"/>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1" name="Picture 2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5025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7060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484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745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545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4217870" y="0"/>
            <a:ext cx="3599236" cy="6857999"/>
          </a:xfrm>
          <a:prstGeom prst="rect">
            <a:avLst/>
          </a:prstGeom>
          <a:solidFill>
            <a:srgbClr val="16448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90000"/>
              </a:lnSpc>
              <a:defRPr sz="8000" cap="all" spc="-50" baseline="0">
                <a:solidFill>
                  <a:schemeClr val="tx1">
                    <a:lumMod val="85000"/>
                    <a:lumOff val="15000"/>
                  </a:schemeClr>
                </a:solidFill>
              </a:defRPr>
            </a:lvl1pPr>
          </a:lstStyle>
          <a:p>
            <a:r>
              <a:rPr lang="en-US" noProof="0" dirty="0"/>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7" name="TextBox 6">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91358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194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830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4012"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509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4"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400051" y="1785600"/>
            <a:ext cx="647750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082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00051" y="2764203"/>
            <a:ext cx="2708587" cy="1314311"/>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dirty="0">
                <a:solidFill>
                  <a:schemeClr val="tx2"/>
                </a:solidFill>
              </a:rPr>
              <a:t>Click to</a:t>
            </a:r>
            <a:br>
              <a:rPr lang="en-US" dirty="0">
                <a:solidFill>
                  <a:schemeClr val="tx2"/>
                </a:solidFill>
              </a:rPr>
            </a:br>
            <a:r>
              <a:rPr lang="en-US" dirty="0">
                <a:solidFill>
                  <a:schemeClr val="tx2"/>
                </a:solidFill>
              </a:rPr>
              <a:t>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59022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2764203"/>
            <a:ext cx="2708587" cy="1314311"/>
          </a:xfrm>
        </p:spPr>
        <p:txBody>
          <a:bodyPr vert="horz" anchor="ctr" anchorCtr="0">
            <a:noAutofit/>
          </a:bodyPr>
          <a:lstStyle>
            <a:lvl1pPr>
              <a:defRPr sz="3000" baseline="0">
                <a:solidFill>
                  <a:srgbClr val="FFFFFF"/>
                </a:solidFill>
                <a:latin typeface="+mj-lt"/>
                <a:ea typeface="+mj-ea"/>
                <a:cs typeface="+mj-cs"/>
              </a:defRPr>
            </a:lvl1pPr>
          </a:lstStyle>
          <a:p>
            <a:r>
              <a:rPr lang="en-US" dirty="0"/>
              <a:t>Click to</a:t>
            </a:r>
            <a:br>
              <a:rPr lang="en-US" dirty="0"/>
            </a:br>
            <a:r>
              <a:rPr lang="en-US" dirty="0"/>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679174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208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22" name="Oval 21"/>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3" name="Picture 2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8" name="Picture 1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274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74192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096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9" name="Picture 1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957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380786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067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033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00051" y="1869728"/>
            <a:ext cx="11391898" cy="4072976"/>
          </a:xfrm>
        </p:spPr>
        <p:txBody>
          <a:bodyPr lIns="0" tIns="45720" rIns="0" bIns="45720"/>
          <a:lstStyle>
            <a:lvl1pPr marL="91440" indent="0">
              <a:lnSpc>
                <a:spcPct val="100000"/>
              </a:lnSpc>
              <a:spcBef>
                <a:spcPts val="1200"/>
              </a:spcBef>
              <a:spcAft>
                <a:spcPts val="200"/>
              </a:spcAft>
              <a:buNone/>
              <a:defRPr sz="20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8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dirty="0"/>
              <a:t>CLICK TO EDIT MASTER TITLE STYLE</a:t>
            </a:r>
          </a:p>
        </p:txBody>
      </p:sp>
      <p:sp>
        <p:nvSpPr>
          <p:cNvPr id="18"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3" name="TextBox 2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9833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1348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69865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8510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1" name="Oval 10"/>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74029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dirty="0"/>
              <a:t>Click to add big statement text</a:t>
            </a: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79662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F243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9053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335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4" name="Title 3"/>
          <p:cNvSpPr>
            <a:spLocks noGrp="1"/>
          </p:cNvSpPr>
          <p:nvPr>
            <p:ph type="title" hasCustomPrompt="1"/>
          </p:nvPr>
        </p:nvSpPr>
        <p:spPr>
          <a:xfrm>
            <a:off x="400051" y="387882"/>
            <a:ext cx="9976848" cy="566735"/>
          </a:xfrm>
        </p:spPr>
        <p:txBody>
          <a:bodyPr vert="horz"/>
          <a:lstStyle>
            <a:lvl1pPr>
              <a:defRPr sz="30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26152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14252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473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6" name="Oval 15"/>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3031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24906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509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657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5" name="TextBox 5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79492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400051" y="2057400"/>
            <a:ext cx="533696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14" name="Content Placeholder 2"/>
          <p:cNvSpPr>
            <a:spLocks noGrp="1"/>
          </p:cNvSpPr>
          <p:nvPr>
            <p:ph idx="10"/>
          </p:nvPr>
        </p:nvSpPr>
        <p:spPr>
          <a:xfrm>
            <a:off x="400051" y="2958274"/>
            <a:ext cx="5336965"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p:cNvSpPr>
            <a:spLocks noGrp="1"/>
          </p:cNvSpPr>
          <p:nvPr>
            <p:ph type="body" sz="quarter" idx="3"/>
          </p:nvPr>
        </p:nvSpPr>
        <p:spPr>
          <a:xfrm>
            <a:off x="6515944" y="2057400"/>
            <a:ext cx="527600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Content Placeholder 2"/>
          <p:cNvSpPr>
            <a:spLocks noGrp="1"/>
          </p:cNvSpPr>
          <p:nvPr>
            <p:ph idx="11"/>
          </p:nvPr>
        </p:nvSpPr>
        <p:spPr>
          <a:xfrm>
            <a:off x="6515945" y="2958274"/>
            <a:ext cx="5276004"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itle Placeholder 1">
            <a:extLst>
              <a:ext uri="{FF2B5EF4-FFF2-40B4-BE49-F238E27FC236}">
                <a16:creationId xmlns:a16="http://schemas.microsoft.com/office/drawing/2014/main" id="{99E345E4-E77C-484E-9FBB-E4EC71F08545}"/>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dirty="0"/>
              <a:t>CLICK TO EDIT MASTER TITLE STYLE</a:t>
            </a:r>
          </a:p>
        </p:txBody>
      </p:sp>
      <p:sp>
        <p:nvSpPr>
          <p:cNvPr id="2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0" name="TextBox 2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048498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213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EB418D-BF89-45FF-9A32-925AD834A441}"/>
              </a:ext>
            </a:extLst>
          </p:cNvPr>
          <p:cNvSpPr/>
          <p:nvPr userDrawn="1">
            <p:custDataLst>
              <p:tags r:id="rId3"/>
            </p:custDataLst>
          </p:nvPr>
        </p:nvSpPr>
        <p:spPr>
          <a:xfrm>
            <a:off x="0" y="0"/>
            <a:ext cx="158750" cy="158750"/>
          </a:xfrm>
          <a:prstGeom prst="rect">
            <a:avLst/>
          </a:prstGeom>
          <a:solidFill>
            <a:srgbClr val="0A3161"/>
          </a:solidFill>
          <a:ln w="9525" cap="rnd" cmpd="sng" algn="ctr">
            <a:solidFill>
              <a:srgbClr val="0A316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0" baseline="0" dirty="0" err="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hidden="1"/>
          <p:cNvSpPr/>
          <p:nvPr userDrawn="1">
            <p:custDataLst>
              <p:tags r:id="rId4"/>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1" name="Rectangle">
            <a:extLst>
              <a:ext uri="{FF2B5EF4-FFF2-40B4-BE49-F238E27FC236}">
                <a16:creationId xmlns:a16="http://schemas.microsoft.com/office/drawing/2014/main" id="{6A08E9EE-D0D1-4E44-AC19-F1C9DEDB4EA7}"/>
              </a:ext>
            </a:extLst>
          </p:cNvPr>
          <p:cNvSpPr/>
          <p:nvPr userDrawn="1"/>
        </p:nvSpPr>
        <p:spPr>
          <a:xfrm flipH="1">
            <a:off x="-1" y="4450188"/>
            <a:ext cx="12192000" cy="2407811"/>
          </a:xfrm>
          <a:prstGeom prst="rect">
            <a:avLst/>
          </a:prstGeom>
          <a:solidFill>
            <a:srgbClr val="0A3160"/>
          </a:solidFill>
          <a:ln w="12700">
            <a:miter lim="400000"/>
          </a:ln>
        </p:spPr>
        <p:txBody>
          <a:bodyPr lIns="0" tIns="0" rIns="0" bIns="0" anchor="ctr"/>
          <a:lstStyle/>
          <a:p>
            <a:pPr lvl="0"/>
            <a:endParaRPr lang="en-US" sz="1600" b="0" noProof="0" dirty="0">
              <a:solidFill>
                <a:srgbClr val="FFFFFF"/>
              </a:solidFill>
            </a:endParaRPr>
          </a:p>
        </p:txBody>
      </p:sp>
      <p:sp>
        <p:nvSpPr>
          <p:cNvPr id="12" name="Rectangle">
            <a:extLst>
              <a:ext uri="{FF2B5EF4-FFF2-40B4-BE49-F238E27FC236}">
                <a16:creationId xmlns:a16="http://schemas.microsoft.com/office/drawing/2014/main" id="{1EF87EFA-95C8-4D1F-8DC4-932771BF24BD}"/>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3" name="Title 1">
            <a:extLst>
              <a:ext uri="{FF2B5EF4-FFF2-40B4-BE49-F238E27FC236}">
                <a16:creationId xmlns:a16="http://schemas.microsoft.com/office/drawing/2014/main" id="{62712E20-6489-49CA-9AC7-122B587161EB}"/>
              </a:ext>
            </a:extLst>
          </p:cNvPr>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16" name="Subtitle 2">
            <a:extLst>
              <a:ext uri="{FF2B5EF4-FFF2-40B4-BE49-F238E27FC236}">
                <a16:creationId xmlns:a16="http://schemas.microsoft.com/office/drawing/2014/main" id="{B85FD3F6-CD13-4768-86AD-FCC6B69DAEB3}"/>
              </a:ext>
            </a:extLst>
          </p:cNvPr>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17" name="Text Placeholder 13">
            <a:extLst>
              <a:ext uri="{FF2B5EF4-FFF2-40B4-BE49-F238E27FC236}">
                <a16:creationId xmlns:a16="http://schemas.microsoft.com/office/drawing/2014/main" id="{BB94F6E8-F526-412C-B16B-0659AA782044}"/>
              </a:ext>
            </a:extLst>
          </p:cNvPr>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23" name="Picture 22">
            <a:extLst>
              <a:ext uri="{FF2B5EF4-FFF2-40B4-BE49-F238E27FC236}">
                <a16:creationId xmlns:a16="http://schemas.microsoft.com/office/drawing/2014/main" id="{5F260695-44BF-4D02-9345-63778EF3370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24" name="TextBox 23">
            <a:extLst>
              <a:ext uri="{FF2B5EF4-FFF2-40B4-BE49-F238E27FC236}">
                <a16:creationId xmlns:a16="http://schemas.microsoft.com/office/drawing/2014/main" id="{51D6A575-B211-48B1-BB91-4CB3C3D015DE}"/>
              </a:ext>
            </a:extLst>
          </p:cNvPr>
          <p:cNvSpPr txBox="1"/>
          <p:nvPr userDrawn="1">
            <p:custDataLst>
              <p:tags r:id="rId5"/>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5" name="Picture 24">
            <a:extLst>
              <a:ext uri="{FF2B5EF4-FFF2-40B4-BE49-F238E27FC236}">
                <a16:creationId xmlns:a16="http://schemas.microsoft.com/office/drawing/2014/main" id="{C2FEBF33-CCF6-41D9-A096-DFEB071172BE}"/>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5" name="Picture 1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91491" y="5570053"/>
            <a:ext cx="896232" cy="4481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4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400051" y="387882"/>
            <a:ext cx="9976848" cy="566735"/>
          </a:xfr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22"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654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A3161"/>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9"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499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dirty="0">
              <a:solidFill>
                <a:schemeClr val="bg1"/>
              </a:solidFill>
              <a:sym typeface="Trebuchet MS" panose="020B0603020202020204" pitchFamily="34" charset="0"/>
            </a:endParaRPr>
          </a:p>
        </p:txBody>
      </p:sp>
      <p:sp>
        <p:nvSpPr>
          <p:cNvPr id="8" name="Subtitle 2"/>
          <p:cNvSpPr>
            <a:spLocks noGrp="1"/>
          </p:cNvSpPr>
          <p:nvPr>
            <p:ph type="subTitle" idx="13" hasCustomPrompt="1"/>
          </p:nvPr>
        </p:nvSpPr>
        <p:spPr>
          <a:xfrm>
            <a:off x="400051" y="2158987"/>
            <a:ext cx="3973949" cy="541687"/>
          </a:xfrm>
          <a:prstGeom prst="rect">
            <a:avLst/>
          </a:prstGeom>
        </p:spPr>
        <p:txBody>
          <a:bodyPr>
            <a:noAutofit/>
          </a:bodyPr>
          <a:lstStyle>
            <a:lvl1pPr marL="0" indent="0" algn="l">
              <a:buNone/>
              <a:defRPr sz="1600">
                <a:solidFill>
                  <a:srgbClr val="0A316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00051" y="1227048"/>
            <a:ext cx="3973949" cy="664797"/>
          </a:xfrm>
        </p:spPr>
        <p:txBody>
          <a:bodyPr vert="horz" anchor="t">
            <a:noAutofit/>
          </a:bodyPr>
          <a:lstStyle>
            <a:lvl1pPr>
              <a:defRPr sz="3000">
                <a:solidFill>
                  <a:srgbClr val="0A3161"/>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761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A3161"/>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594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A3161"/>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9" name="TextBox 8">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1214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6" name="TextBox 15"/>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6083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506478"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7173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8331533"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9262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599849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902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797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400051" y="1785600"/>
            <a:ext cx="6478437"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4519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A3161"/>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092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6448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2764203"/>
            <a:ext cx="2708587" cy="1314311"/>
          </a:xfrm>
        </p:spPr>
        <p:txBody>
          <a:bodyPr vert="horz" anchor="ctr" anchorCtr="0">
            <a:noAutofit/>
          </a:bodyPr>
          <a:lstStyle>
            <a:lvl1pPr>
              <a:defRPr>
                <a:solidFill>
                  <a:srgbClr val="FFFFFF"/>
                </a:solidFill>
                <a:latin typeface="+mj-lt"/>
                <a:ea typeface="+mj-ea"/>
                <a:cs typeface="+mj-cs"/>
              </a:defRPr>
            </a:lvl1pPr>
          </a:lstStyle>
          <a:p>
            <a:r>
              <a:rPr lang="en-US" dirty="0"/>
              <a:t>Click to</a:t>
            </a:r>
            <a:br>
              <a:rPr lang="en-US" dirty="0"/>
            </a:br>
            <a:r>
              <a:rPr lang="en-US" dirty="0"/>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862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4966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773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6102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294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243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am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058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icture Placeholder 3">
            <a:extLst>
              <a:ext uri="{FF2B5EF4-FFF2-40B4-BE49-F238E27FC236}">
                <a16:creationId xmlns:a16="http://schemas.microsoft.com/office/drawing/2014/main" id="{B9308E97-4F89-394E-856A-5B4EFCB2E73D}"/>
              </a:ext>
            </a:extLst>
          </p:cNvPr>
          <p:cNvSpPr>
            <a:spLocks noGrp="1"/>
          </p:cNvSpPr>
          <p:nvPr>
            <p:ph type="pic" sz="quarter" idx="13"/>
          </p:nvPr>
        </p:nvSpPr>
        <p:spPr>
          <a:xfrm>
            <a:off x="400051"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0" name="Picture Placeholder 3">
            <a:extLst>
              <a:ext uri="{FF2B5EF4-FFF2-40B4-BE49-F238E27FC236}">
                <a16:creationId xmlns:a16="http://schemas.microsoft.com/office/drawing/2014/main" id="{A50BECA0-8817-964B-AEDB-A45669684C37}"/>
              </a:ext>
            </a:extLst>
          </p:cNvPr>
          <p:cNvSpPr>
            <a:spLocks noGrp="1"/>
          </p:cNvSpPr>
          <p:nvPr>
            <p:ph type="pic" sz="quarter" idx="14"/>
          </p:nvPr>
        </p:nvSpPr>
        <p:spPr>
          <a:xfrm>
            <a:off x="4350032"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1" name="Picture Placeholder 3">
            <a:extLst>
              <a:ext uri="{FF2B5EF4-FFF2-40B4-BE49-F238E27FC236}">
                <a16:creationId xmlns:a16="http://schemas.microsoft.com/office/drawing/2014/main" id="{EF399F4D-B67A-4C4B-BCF3-36FE110603F1}"/>
              </a:ext>
            </a:extLst>
          </p:cNvPr>
          <p:cNvSpPr>
            <a:spLocks noGrp="1"/>
          </p:cNvSpPr>
          <p:nvPr>
            <p:ph type="pic" sz="quarter" idx="15"/>
          </p:nvPr>
        </p:nvSpPr>
        <p:spPr>
          <a:xfrm>
            <a:off x="8300014"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2" name="Text Placeholder 3">
            <a:extLst>
              <a:ext uri="{FF2B5EF4-FFF2-40B4-BE49-F238E27FC236}">
                <a16:creationId xmlns:a16="http://schemas.microsoft.com/office/drawing/2014/main" id="{08305C84-E25F-EC49-8F2B-4C0181FD3ABF}"/>
              </a:ext>
            </a:extLst>
          </p:cNvPr>
          <p:cNvSpPr>
            <a:spLocks noGrp="1"/>
          </p:cNvSpPr>
          <p:nvPr>
            <p:ph type="body" sz="half" idx="2" hasCustomPrompt="1"/>
          </p:nvPr>
        </p:nvSpPr>
        <p:spPr>
          <a:xfrm>
            <a:off x="400051"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3" name="Text Placeholder 3">
            <a:extLst>
              <a:ext uri="{FF2B5EF4-FFF2-40B4-BE49-F238E27FC236}">
                <a16:creationId xmlns:a16="http://schemas.microsoft.com/office/drawing/2014/main" id="{A57A1FCE-E6BF-3747-9D43-42DBA6656EC0}"/>
              </a:ext>
            </a:extLst>
          </p:cNvPr>
          <p:cNvSpPr>
            <a:spLocks noGrp="1"/>
          </p:cNvSpPr>
          <p:nvPr>
            <p:ph type="body" sz="half" idx="16" hasCustomPrompt="1"/>
          </p:nvPr>
        </p:nvSpPr>
        <p:spPr>
          <a:xfrm>
            <a:off x="4350033"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4" name="Text Placeholder 3">
            <a:extLst>
              <a:ext uri="{FF2B5EF4-FFF2-40B4-BE49-F238E27FC236}">
                <a16:creationId xmlns:a16="http://schemas.microsoft.com/office/drawing/2014/main" id="{5B4B74C8-96E7-684F-91B9-8CE56CD10F1E}"/>
              </a:ext>
            </a:extLst>
          </p:cNvPr>
          <p:cNvSpPr>
            <a:spLocks noGrp="1"/>
          </p:cNvSpPr>
          <p:nvPr>
            <p:ph type="body" sz="half" idx="17" hasCustomPrompt="1"/>
          </p:nvPr>
        </p:nvSpPr>
        <p:spPr>
          <a:xfrm>
            <a:off x="8300014"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5" name="Title Placeholder 1">
            <a:extLst>
              <a:ext uri="{FF2B5EF4-FFF2-40B4-BE49-F238E27FC236}">
                <a16:creationId xmlns:a16="http://schemas.microsoft.com/office/drawing/2014/main" id="{D522564E-B348-544F-A8E5-CFCAFA48B54B}"/>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2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1" name="TextBox 3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12165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9058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58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dirty="0"/>
              <a:t>Click to add big statement text</a:t>
            </a: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F243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8211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2743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9976848" cy="566735"/>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858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dirty="0">
                <a:solidFill>
                  <a:srgbClr val="0A316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9" name="Picture 1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741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7" name="TextBox 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166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8" name="Picture 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899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4823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1998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0" name="TextBox 4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Client Blank">
    <p:bg>
      <p:bgPr>
        <a:solidFill>
          <a:schemeClr val="bg1"/>
        </a:solidFill>
        <a:effectLst/>
      </p:bgPr>
    </p:bg>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64446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5256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799769" y="1115416"/>
            <a:ext cx="3108543" cy="881780"/>
          </a:xfrm>
          <a:prstGeom prst="rect">
            <a:avLst/>
          </a:prstGeom>
          <a:noFill/>
        </p:spPr>
        <p:txBody>
          <a:bodyPr wrap="none" rtlCol="0">
            <a:spAutoFit/>
          </a:bodyPr>
          <a:lstStyle/>
          <a:p>
            <a:pPr algn="ctr" fontAlgn="auto">
              <a:lnSpc>
                <a:spcPct val="95000"/>
              </a:lnSpc>
              <a:spcBef>
                <a:spcPts val="0"/>
              </a:spcBef>
              <a:spcAft>
                <a:spcPts val="0"/>
              </a:spcAft>
            </a:pPr>
            <a:r>
              <a:rPr lang="en-US" sz="5400" cap="all" baseline="0" dirty="0">
                <a:solidFill>
                  <a:schemeClr val="bg1"/>
                </a:solidFill>
                <a:latin typeface="+mn-lt"/>
                <a:ea typeface="+mn-ea"/>
                <a:cs typeface="+mn-cs"/>
              </a:rPr>
              <a:t>Agenda</a:t>
            </a:r>
          </a:p>
        </p:txBody>
      </p:sp>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23" name="Oval 2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4" name="Picture 2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3628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7584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503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400051" y="3207401"/>
            <a:ext cx="1623842" cy="415498"/>
          </a:xfrm>
          <a:prstGeom prst="rect">
            <a:avLst/>
          </a:prstGeom>
          <a:noFill/>
        </p:spPr>
        <p:txBody>
          <a:bodyPr wrap="none" lIns="0" tIns="0" rIns="0" bIns="0" rtlCol="0" anchor="t">
            <a:spAutoFit/>
          </a:bodyPr>
          <a:lstStyle/>
          <a:p>
            <a:pPr>
              <a:lnSpc>
                <a:spcPct val="90000"/>
              </a:lnSpc>
              <a:spcAft>
                <a:spcPts val="600"/>
              </a:spcAft>
            </a:pPr>
            <a:r>
              <a:rPr lang="en-US" sz="3000" cap="all" baseline="0" dirty="0">
                <a:solidFill>
                  <a:schemeClr val="bg1"/>
                </a:solidFill>
                <a:latin typeface="+mn-lt"/>
                <a:ea typeface="+mn-ea"/>
                <a:cs typeface="+mn-cs"/>
              </a:rPr>
              <a:t>Agenda</a:t>
            </a:r>
          </a:p>
        </p:txBody>
      </p:sp>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0466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559AED"/>
            </a:solidFill>
            <a:prstDash val="solid"/>
            <a:miter lim="800000"/>
          </a:ln>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559AED"/>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799769" y="1115416"/>
            <a:ext cx="310854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cap="all" baseline="0" dirty="0">
                <a:solidFill>
                  <a:srgbClr val="559AED"/>
                </a:solidFill>
                <a:latin typeface="+mn-lt"/>
                <a:ea typeface="+mn-ea"/>
                <a:cs typeface="+mn-cs"/>
              </a:rPr>
              <a:t>Agenda</a:t>
            </a: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5107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8860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dirty="0">
                <a:solidFill>
                  <a:srgbClr val="559AED"/>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1987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400051" y="3221251"/>
            <a:ext cx="1853791" cy="415498"/>
          </a:xfrm>
          <a:prstGeom prst="rect">
            <a:avLst/>
          </a:prstGeom>
          <a:noFill/>
        </p:spPr>
        <p:txBody>
          <a:bodyPr wrap="none" lIns="0" tIns="0" rIns="0" bIns="0" rtlCol="0" anchor="t">
            <a:spAutoFit/>
          </a:bodyPr>
          <a:lstStyle/>
          <a:p>
            <a:pPr>
              <a:lnSpc>
                <a:spcPct val="90000"/>
              </a:lnSpc>
              <a:spcAft>
                <a:spcPts val="600"/>
              </a:spcAft>
            </a:pPr>
            <a:r>
              <a:rPr lang="en-US" sz="3000" cap="all" baseline="0" dirty="0">
                <a:solidFill>
                  <a:schemeClr val="bg1"/>
                </a:solidFill>
                <a:latin typeface="+mn-lt"/>
                <a:ea typeface="+mn-ea"/>
                <a:cs typeface="+mn-cs"/>
              </a:rPr>
              <a:t>Agenda</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051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dirty="0">
                <a:solidFill>
                  <a:srgbClr val="559AED"/>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9" name="Oval 18"/>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21" name="Picture 2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652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lvl="0"/>
            <a:endParaRPr lang="en-US" sz="1600" b="0" noProof="0" dirty="0">
              <a:solidFill>
                <a:srgbClr val="FFFFFF"/>
              </a:solidFill>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9" name="Title 1"/>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dirty="0"/>
              <a:t>Click to edit Master title style</a:t>
            </a:r>
          </a:p>
        </p:txBody>
      </p:sp>
      <p:sp>
        <p:nvSpPr>
          <p:cNvPr id="23" name="Subtitle 2"/>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dirty="0"/>
              <a:t>Click to edit Master subtitle style</a:t>
            </a:r>
          </a:p>
        </p:txBody>
      </p:sp>
      <p:sp>
        <p:nvSpPr>
          <p:cNvPr id="29" name="Text Placeholder 13"/>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dirty="0"/>
              <a:t>Date</a:t>
            </a:r>
          </a:p>
        </p:txBody>
      </p:sp>
      <p:pic>
        <p:nvPicPr>
          <p:cNvPr id="31" name="Picture 3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 name="Picture 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91491" y="5585561"/>
            <a:ext cx="834198" cy="417099"/>
          </a:xfrm>
          <a:prstGeom prst="rect">
            <a:avLst/>
          </a:prstGeom>
        </p:spPr>
      </p:pic>
    </p:spTree>
    <p:extLst>
      <p:ext uri="{BB962C8B-B14F-4D97-AF65-F5344CB8AC3E}">
        <p14:creationId xmlns:p14="http://schemas.microsoft.com/office/powerpoint/2010/main" val="1085782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bg>
      <p:bgPr>
        <a:solidFill>
          <a:schemeClr val="bg1"/>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21BED569-C9C5-8F4D-A42A-ED4914579D63}"/>
              </a:ext>
            </a:extLst>
          </p:cNvPr>
          <p:cNvSpPr>
            <a:spLocks noGrp="1"/>
          </p:cNvSpPr>
          <p:nvPr>
            <p:ph type="pic" sz="quarter" idx="13"/>
          </p:nvPr>
        </p:nvSpPr>
        <p:spPr>
          <a:xfrm>
            <a:off x="5924550" y="942870"/>
            <a:ext cx="5632450" cy="4972258"/>
          </a:xfrm>
          <a:solidFill>
            <a:schemeClr val="tx2"/>
          </a:solidFill>
        </p:spPr>
        <p:txBody>
          <a:bodyPr anchor="ctr"/>
          <a:lstStyle>
            <a:lvl1pPr algn="ctr">
              <a:defRPr>
                <a:solidFill>
                  <a:schemeClr val="bg1"/>
                </a:solidFill>
              </a:defRPr>
            </a:lvl1pPr>
          </a:lstStyle>
          <a:p>
            <a:r>
              <a:rPr lang="en-US" noProof="0" dirty="0"/>
              <a:t>Click icon to add picture</a:t>
            </a:r>
          </a:p>
        </p:txBody>
      </p:sp>
      <p:sp>
        <p:nvSpPr>
          <p:cNvPr id="11" name="Title Placeholder 1">
            <a:extLst>
              <a:ext uri="{FF2B5EF4-FFF2-40B4-BE49-F238E27FC236}">
                <a16:creationId xmlns:a16="http://schemas.microsoft.com/office/drawing/2014/main" id="{ACB6E588-2EB7-9A41-A93A-7757596EF9D6}"/>
              </a:ext>
            </a:extLst>
          </p:cNvPr>
          <p:cNvSpPr>
            <a:spLocks noGrp="1"/>
          </p:cNvSpPr>
          <p:nvPr>
            <p:ph type="title" hasCustomPrompt="1"/>
          </p:nvPr>
        </p:nvSpPr>
        <p:spPr>
          <a:xfrm>
            <a:off x="1195754" y="942870"/>
            <a:ext cx="4157296" cy="1292750"/>
          </a:xfrm>
          <a:prstGeom prst="rect">
            <a:avLst/>
          </a:prstGeom>
        </p:spPr>
        <p:txBody>
          <a:bodyPr vert="horz" lIns="91440" tIns="45720" rIns="91440" bIns="45720" rtlCol="0" anchor="ctr">
            <a:normAutofit/>
          </a:bodyPr>
          <a:lstStyle>
            <a:lvl1pPr>
              <a:defRPr cap="all" baseline="0"/>
            </a:lvl1pPr>
          </a:lstStyle>
          <a:p>
            <a:r>
              <a:rPr lang="en-US" noProof="0" dirty="0"/>
              <a:t>Title goes here</a:t>
            </a:r>
          </a:p>
        </p:txBody>
      </p:sp>
      <p:sp>
        <p:nvSpPr>
          <p:cNvPr id="14" name="Content Placeholder 2"/>
          <p:cNvSpPr>
            <a:spLocks noGrp="1"/>
          </p:cNvSpPr>
          <p:nvPr>
            <p:ph idx="14"/>
          </p:nvPr>
        </p:nvSpPr>
        <p:spPr>
          <a:xfrm>
            <a:off x="1195754" y="2281657"/>
            <a:ext cx="4157296" cy="363347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0" name="TextBox 1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3678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Section Header">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4217870" y="0"/>
            <a:ext cx="3599236" cy="6857999"/>
          </a:xfrm>
          <a:prstGeom prst="rect">
            <a:avLst/>
          </a:prstGeom>
          <a:solidFill>
            <a:srgbClr val="0A3161"/>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90000"/>
              </a:lnSpc>
              <a:defRPr sz="8000" cap="all" spc="-50" baseline="0">
                <a:solidFill>
                  <a:schemeClr val="tx1">
                    <a:lumMod val="85000"/>
                    <a:lumOff val="15000"/>
                  </a:schemeClr>
                </a:solidFill>
              </a:defRPr>
            </a:lvl1pPr>
          </a:lstStyle>
          <a:p>
            <a:r>
              <a:rPr lang="en-US" noProof="0" dirty="0"/>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7" name="TextBox 6">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960550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033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00051" y="1869728"/>
            <a:ext cx="11391898" cy="4072976"/>
          </a:xfrm>
        </p:spPr>
        <p:txBody>
          <a:bodyPr lIns="0" tIns="45720" rIns="0" bIns="45720"/>
          <a:lstStyle>
            <a:lvl1pPr marL="91440" indent="0">
              <a:lnSpc>
                <a:spcPct val="100000"/>
              </a:lnSpc>
              <a:spcBef>
                <a:spcPts val="1200"/>
              </a:spcBef>
              <a:spcAft>
                <a:spcPts val="200"/>
              </a:spcAft>
              <a:buNone/>
              <a:defRPr sz="20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8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dirty="0"/>
              <a:t>CLICK TO EDIT MASTER TITLE STYLE</a:t>
            </a:r>
          </a:p>
        </p:txBody>
      </p:sp>
      <p:sp>
        <p:nvSpPr>
          <p:cNvPr id="18"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3" name="TextBox 2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20975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79492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400051" y="2057400"/>
            <a:ext cx="533696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14" name="Content Placeholder 2"/>
          <p:cNvSpPr>
            <a:spLocks noGrp="1"/>
          </p:cNvSpPr>
          <p:nvPr>
            <p:ph idx="10"/>
          </p:nvPr>
        </p:nvSpPr>
        <p:spPr>
          <a:xfrm>
            <a:off x="400051" y="2958274"/>
            <a:ext cx="5336965"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4"/>
          <p:cNvSpPr>
            <a:spLocks noGrp="1"/>
          </p:cNvSpPr>
          <p:nvPr>
            <p:ph type="body" sz="quarter" idx="3"/>
          </p:nvPr>
        </p:nvSpPr>
        <p:spPr>
          <a:xfrm>
            <a:off x="6515944" y="2057400"/>
            <a:ext cx="527600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Content Placeholder 2"/>
          <p:cNvSpPr>
            <a:spLocks noGrp="1"/>
          </p:cNvSpPr>
          <p:nvPr>
            <p:ph idx="11"/>
          </p:nvPr>
        </p:nvSpPr>
        <p:spPr>
          <a:xfrm>
            <a:off x="6515945" y="2958274"/>
            <a:ext cx="5276004"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itle Placeholder 1">
            <a:extLst>
              <a:ext uri="{FF2B5EF4-FFF2-40B4-BE49-F238E27FC236}">
                <a16:creationId xmlns:a16="http://schemas.microsoft.com/office/drawing/2014/main" id="{99E345E4-E77C-484E-9FBB-E4EC71F08545}"/>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dirty="0"/>
              <a:t>CLICK TO EDIT MASTER TITLE STYLE</a:t>
            </a:r>
          </a:p>
        </p:txBody>
      </p:sp>
      <p:sp>
        <p:nvSpPr>
          <p:cNvPr id="2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0" name="TextBox 2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46174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67581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eam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058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icture Placeholder 3">
            <a:extLst>
              <a:ext uri="{FF2B5EF4-FFF2-40B4-BE49-F238E27FC236}">
                <a16:creationId xmlns:a16="http://schemas.microsoft.com/office/drawing/2014/main" id="{B9308E97-4F89-394E-856A-5B4EFCB2E73D}"/>
              </a:ext>
            </a:extLst>
          </p:cNvPr>
          <p:cNvSpPr>
            <a:spLocks noGrp="1"/>
          </p:cNvSpPr>
          <p:nvPr>
            <p:ph type="pic" sz="quarter" idx="13"/>
          </p:nvPr>
        </p:nvSpPr>
        <p:spPr>
          <a:xfrm>
            <a:off x="400051"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0" name="Picture Placeholder 3">
            <a:extLst>
              <a:ext uri="{FF2B5EF4-FFF2-40B4-BE49-F238E27FC236}">
                <a16:creationId xmlns:a16="http://schemas.microsoft.com/office/drawing/2014/main" id="{A50BECA0-8817-964B-AEDB-A45669684C37}"/>
              </a:ext>
            </a:extLst>
          </p:cNvPr>
          <p:cNvSpPr>
            <a:spLocks noGrp="1"/>
          </p:cNvSpPr>
          <p:nvPr>
            <p:ph type="pic" sz="quarter" idx="14"/>
          </p:nvPr>
        </p:nvSpPr>
        <p:spPr>
          <a:xfrm>
            <a:off x="4350032"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1" name="Picture Placeholder 3">
            <a:extLst>
              <a:ext uri="{FF2B5EF4-FFF2-40B4-BE49-F238E27FC236}">
                <a16:creationId xmlns:a16="http://schemas.microsoft.com/office/drawing/2014/main" id="{EF399F4D-B67A-4C4B-BCF3-36FE110603F1}"/>
              </a:ext>
            </a:extLst>
          </p:cNvPr>
          <p:cNvSpPr>
            <a:spLocks noGrp="1"/>
          </p:cNvSpPr>
          <p:nvPr>
            <p:ph type="pic" sz="quarter" idx="15"/>
          </p:nvPr>
        </p:nvSpPr>
        <p:spPr>
          <a:xfrm>
            <a:off x="8300014" y="1930861"/>
            <a:ext cx="3491936" cy="2919413"/>
          </a:xfrm>
          <a:solidFill>
            <a:srgbClr val="EDEFF7"/>
          </a:solidFill>
        </p:spPr>
        <p:txBody>
          <a:bodyPr anchor="ctr"/>
          <a:lstStyle>
            <a:lvl1pPr algn="ctr">
              <a:defRPr sz="1400"/>
            </a:lvl1pPr>
          </a:lstStyle>
          <a:p>
            <a:r>
              <a:rPr lang="en-US" noProof="0" dirty="0"/>
              <a:t>Click icon to add picture</a:t>
            </a:r>
          </a:p>
        </p:txBody>
      </p:sp>
      <p:sp>
        <p:nvSpPr>
          <p:cNvPr id="22" name="Text Placeholder 3">
            <a:extLst>
              <a:ext uri="{FF2B5EF4-FFF2-40B4-BE49-F238E27FC236}">
                <a16:creationId xmlns:a16="http://schemas.microsoft.com/office/drawing/2014/main" id="{08305C84-E25F-EC49-8F2B-4C0181FD3ABF}"/>
              </a:ext>
            </a:extLst>
          </p:cNvPr>
          <p:cNvSpPr>
            <a:spLocks noGrp="1"/>
          </p:cNvSpPr>
          <p:nvPr>
            <p:ph type="body" sz="half" idx="2" hasCustomPrompt="1"/>
          </p:nvPr>
        </p:nvSpPr>
        <p:spPr>
          <a:xfrm>
            <a:off x="400051"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3" name="Text Placeholder 3">
            <a:extLst>
              <a:ext uri="{FF2B5EF4-FFF2-40B4-BE49-F238E27FC236}">
                <a16:creationId xmlns:a16="http://schemas.microsoft.com/office/drawing/2014/main" id="{A57A1FCE-E6BF-3747-9D43-42DBA6656EC0}"/>
              </a:ext>
            </a:extLst>
          </p:cNvPr>
          <p:cNvSpPr>
            <a:spLocks noGrp="1"/>
          </p:cNvSpPr>
          <p:nvPr>
            <p:ph type="body" sz="half" idx="16" hasCustomPrompt="1"/>
          </p:nvPr>
        </p:nvSpPr>
        <p:spPr>
          <a:xfrm>
            <a:off x="4350033"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4" name="Text Placeholder 3">
            <a:extLst>
              <a:ext uri="{FF2B5EF4-FFF2-40B4-BE49-F238E27FC236}">
                <a16:creationId xmlns:a16="http://schemas.microsoft.com/office/drawing/2014/main" id="{5B4B74C8-96E7-684F-91B9-8CE56CD10F1E}"/>
              </a:ext>
            </a:extLst>
          </p:cNvPr>
          <p:cNvSpPr>
            <a:spLocks noGrp="1"/>
          </p:cNvSpPr>
          <p:nvPr>
            <p:ph type="body" sz="half" idx="17" hasCustomPrompt="1"/>
          </p:nvPr>
        </p:nvSpPr>
        <p:spPr>
          <a:xfrm>
            <a:off x="8300014"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5" name="Title Placeholder 1">
            <a:extLst>
              <a:ext uri="{FF2B5EF4-FFF2-40B4-BE49-F238E27FC236}">
                <a16:creationId xmlns:a16="http://schemas.microsoft.com/office/drawing/2014/main" id="{D522564E-B348-544F-A8E5-CFCAFA48B54B}"/>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2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1" name="TextBox 3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05952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Client Blank">
    <p:bg>
      <p:bgPr>
        <a:solidFill>
          <a:schemeClr val="bg1"/>
        </a:solidFill>
        <a:effectLst/>
      </p:bgPr>
    </p:bg>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45894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bg>
      <p:bgPr>
        <a:solidFill>
          <a:schemeClr val="bg1"/>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21BED569-C9C5-8F4D-A42A-ED4914579D63}"/>
              </a:ext>
            </a:extLst>
          </p:cNvPr>
          <p:cNvSpPr>
            <a:spLocks noGrp="1"/>
          </p:cNvSpPr>
          <p:nvPr>
            <p:ph type="pic" sz="quarter" idx="13"/>
          </p:nvPr>
        </p:nvSpPr>
        <p:spPr>
          <a:xfrm>
            <a:off x="5924550" y="942870"/>
            <a:ext cx="5632450" cy="4972258"/>
          </a:xfrm>
          <a:solidFill>
            <a:schemeClr val="tx2"/>
          </a:solidFill>
        </p:spPr>
        <p:txBody>
          <a:bodyPr anchor="ctr"/>
          <a:lstStyle>
            <a:lvl1pPr algn="ctr">
              <a:defRPr>
                <a:solidFill>
                  <a:schemeClr val="bg1"/>
                </a:solidFill>
              </a:defRPr>
            </a:lvl1pPr>
          </a:lstStyle>
          <a:p>
            <a:r>
              <a:rPr lang="en-US" noProof="0" dirty="0"/>
              <a:t>Click icon to add picture</a:t>
            </a:r>
          </a:p>
        </p:txBody>
      </p:sp>
      <p:sp>
        <p:nvSpPr>
          <p:cNvPr id="11" name="Title Placeholder 1">
            <a:extLst>
              <a:ext uri="{FF2B5EF4-FFF2-40B4-BE49-F238E27FC236}">
                <a16:creationId xmlns:a16="http://schemas.microsoft.com/office/drawing/2014/main" id="{ACB6E588-2EB7-9A41-A93A-7757596EF9D6}"/>
              </a:ext>
            </a:extLst>
          </p:cNvPr>
          <p:cNvSpPr>
            <a:spLocks noGrp="1"/>
          </p:cNvSpPr>
          <p:nvPr>
            <p:ph type="title" hasCustomPrompt="1"/>
          </p:nvPr>
        </p:nvSpPr>
        <p:spPr>
          <a:xfrm>
            <a:off x="1195754" y="942870"/>
            <a:ext cx="4157296" cy="1292750"/>
          </a:xfrm>
          <a:prstGeom prst="rect">
            <a:avLst/>
          </a:prstGeom>
        </p:spPr>
        <p:txBody>
          <a:bodyPr vert="horz" lIns="91440" tIns="45720" rIns="91440" bIns="45720" rtlCol="0" anchor="ctr">
            <a:normAutofit/>
          </a:bodyPr>
          <a:lstStyle>
            <a:lvl1pPr>
              <a:defRPr cap="all" baseline="0"/>
            </a:lvl1pPr>
          </a:lstStyle>
          <a:p>
            <a:r>
              <a:rPr lang="en-US" noProof="0" dirty="0"/>
              <a:t>Title goes here</a:t>
            </a:r>
          </a:p>
        </p:txBody>
      </p:sp>
      <p:sp>
        <p:nvSpPr>
          <p:cNvPr id="14" name="Content Placeholder 2"/>
          <p:cNvSpPr>
            <a:spLocks noGrp="1"/>
          </p:cNvSpPr>
          <p:nvPr>
            <p:ph idx="14"/>
          </p:nvPr>
        </p:nvSpPr>
        <p:spPr>
          <a:xfrm>
            <a:off x="1195754" y="2281657"/>
            <a:ext cx="4157296" cy="363347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0" name="TextBox 1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47712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lient Quot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41990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105C2191-88F7-4148-96FD-E129F707E038}"/>
              </a:ext>
            </a:extLst>
          </p:cNvPr>
          <p:cNvCxnSpPr/>
          <p:nvPr userDrawn="1"/>
        </p:nvCxnSpPr>
        <p:spPr>
          <a:xfrm>
            <a:off x="6818393" y="999565"/>
            <a:ext cx="0" cy="4858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61FB2196-E251-5A40-86F7-6092CEBFA133}"/>
              </a:ext>
            </a:extLst>
          </p:cNvPr>
          <p:cNvSpPr>
            <a:spLocks noGrp="1"/>
          </p:cNvSpPr>
          <p:nvPr>
            <p:ph type="title" hasCustomPrompt="1"/>
          </p:nvPr>
        </p:nvSpPr>
        <p:spPr>
          <a:xfrm>
            <a:off x="635000" y="3135207"/>
            <a:ext cx="5460992" cy="587584"/>
          </a:xfrm>
          <a:prstGeom prst="rect">
            <a:avLst/>
          </a:prstGeom>
        </p:spPr>
        <p:txBody>
          <a:bodyPr vert="horz" lIns="91440" tIns="45720" rIns="91440" bIns="45720" rtlCol="0" anchor="ctr">
            <a:noAutofit/>
          </a:bodyPr>
          <a:lstStyle>
            <a:lvl1pPr algn="r">
              <a:defRPr sz="4400" cap="all" baseline="0"/>
            </a:lvl1pPr>
          </a:lstStyle>
          <a:p>
            <a:r>
              <a:rPr lang="en-US" noProof="0" dirty="0"/>
              <a:t>Title goes here</a:t>
            </a:r>
          </a:p>
        </p:txBody>
      </p:sp>
      <p:sp>
        <p:nvSpPr>
          <p:cNvPr id="12" name="Content Placeholder 3">
            <a:extLst>
              <a:ext uri="{FF2B5EF4-FFF2-40B4-BE49-F238E27FC236}">
                <a16:creationId xmlns:a16="http://schemas.microsoft.com/office/drawing/2014/main" id="{C2FACD1B-0D9C-A547-98A0-D66C341D3D74}"/>
              </a:ext>
            </a:extLst>
          </p:cNvPr>
          <p:cNvSpPr>
            <a:spLocks noGrp="1"/>
          </p:cNvSpPr>
          <p:nvPr>
            <p:ph sz="half" idx="2" hasCustomPrompt="1"/>
          </p:nvPr>
        </p:nvSpPr>
        <p:spPr>
          <a:xfrm>
            <a:off x="7540794" y="831286"/>
            <a:ext cx="4016206" cy="5195425"/>
          </a:xfrm>
        </p:spPr>
        <p:txBody>
          <a:bodyPr anchor="ctr">
            <a:normAutofit/>
          </a:bodyPr>
          <a:lstStyle>
            <a:lvl1pPr marL="342900" indent="-342900">
              <a:buClr>
                <a:schemeClr val="tx1"/>
              </a:buClr>
              <a:buFont typeface="+mj-lt"/>
              <a:buAutoNum type="arabicPeriod"/>
              <a:defRPr sz="1600">
                <a:solidFill>
                  <a:schemeClr val="tx1"/>
                </a:solidFill>
              </a:defRPr>
            </a:lvl1pPr>
            <a:lvl2pPr marL="544068" indent="-342900">
              <a:buClr>
                <a:schemeClr val="tx1"/>
              </a:buClr>
              <a:buFont typeface="+mj-lt"/>
              <a:buAutoNum type="arabicPeriod"/>
              <a:defRPr sz="1400"/>
            </a:lvl2pPr>
            <a:lvl3pPr marL="612648" indent="-228600">
              <a:buClr>
                <a:schemeClr val="tx1"/>
              </a:buClr>
              <a:buFont typeface="+mj-lt"/>
              <a:buAutoNum type="arabicPeriod"/>
              <a:defRPr sz="1100"/>
            </a:lvl3pPr>
            <a:lvl4pPr marL="795528" indent="-228600">
              <a:buClr>
                <a:schemeClr val="tx1"/>
              </a:buClr>
              <a:buFont typeface="+mj-lt"/>
              <a:buAutoNum type="arabicPeriod"/>
              <a:defRPr sz="1100"/>
            </a:lvl4pPr>
            <a:lvl5pPr marL="978408" indent="-228600">
              <a:buClr>
                <a:schemeClr val="tx1"/>
              </a:buClr>
              <a:buFont typeface="+mj-lt"/>
              <a:buAutoNum type="arabicPeriod"/>
              <a:defRPr sz="1100"/>
            </a:lvl5pPr>
          </a:lstStyle>
          <a:p>
            <a:pPr lvl="0"/>
            <a:r>
              <a:rPr lang="en-US" noProof="0"/>
              <a:t>Quote Goes Her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77241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82544261-8049-494B-A93D-BDFF1BB84722}"/>
              </a:ext>
            </a:extLst>
          </p:cNvPr>
          <p:cNvSpPr>
            <a:spLocks noGrp="1"/>
          </p:cNvSpPr>
          <p:nvPr>
            <p:ph type="title" hasCustomPrompt="1"/>
          </p:nvPr>
        </p:nvSpPr>
        <p:spPr>
          <a:xfrm>
            <a:off x="635000" y="3135207"/>
            <a:ext cx="4886854" cy="587584"/>
          </a:xfrm>
          <a:prstGeom prst="rect">
            <a:avLst/>
          </a:prstGeom>
        </p:spPr>
        <p:txBody>
          <a:bodyPr vert="horz" lIns="91440" tIns="45720" rIns="91440" bIns="45720" rtlCol="0" anchor="ctr">
            <a:normAutofit/>
          </a:bodyPr>
          <a:lstStyle>
            <a:lvl1pPr algn="ctr">
              <a:defRPr cap="all" baseline="0"/>
            </a:lvl1pPr>
          </a:lstStyle>
          <a:p>
            <a:r>
              <a:rPr lang="en-US" noProof="0" dirty="0"/>
              <a:t>Title goes here</a:t>
            </a:r>
          </a:p>
        </p:txBody>
      </p:sp>
      <p:sp>
        <p:nvSpPr>
          <p:cNvPr id="12" name="Content Placeholder 3">
            <a:extLst>
              <a:ext uri="{FF2B5EF4-FFF2-40B4-BE49-F238E27FC236}">
                <a16:creationId xmlns:a16="http://schemas.microsoft.com/office/drawing/2014/main" id="{9214786D-83EE-814C-A5E4-D0EC7D29D0C4}"/>
              </a:ext>
            </a:extLst>
          </p:cNvPr>
          <p:cNvSpPr>
            <a:spLocks noGrp="1"/>
          </p:cNvSpPr>
          <p:nvPr>
            <p:ph sz="half" idx="2"/>
          </p:nvPr>
        </p:nvSpPr>
        <p:spPr>
          <a:xfrm>
            <a:off x="5575829" y="878114"/>
            <a:ext cx="5981171" cy="5101772"/>
          </a:xfrm>
        </p:spPr>
        <p:txBody>
          <a:bodyPr anchor="ctr">
            <a:normAutofit/>
          </a:bodyPr>
          <a:lstStyle>
            <a:lvl1pPr marL="342900" indent="-342900">
              <a:buClr>
                <a:schemeClr val="tx1"/>
              </a:buClr>
              <a:buFont typeface="+mj-lt"/>
              <a:buAutoNum type="arabicPeriod"/>
              <a:defRPr sz="1600" b="0">
                <a:solidFill>
                  <a:schemeClr val="tx1"/>
                </a:solidFill>
              </a:defRPr>
            </a:lvl1pPr>
            <a:lvl2pPr marL="544068" indent="-342900">
              <a:buClr>
                <a:schemeClr val="tx1"/>
              </a:buClr>
              <a:buFont typeface="+mj-lt"/>
              <a:buAutoNum type="arabicPeriod"/>
              <a:defRPr sz="1400" b="0">
                <a:solidFill>
                  <a:schemeClr val="tx1"/>
                </a:solidFill>
              </a:defRPr>
            </a:lvl2pPr>
            <a:lvl3pPr marL="612648" indent="-228600">
              <a:buClr>
                <a:schemeClr val="tx1"/>
              </a:buClr>
              <a:buFont typeface="+mj-lt"/>
              <a:buAutoNum type="arabicPeriod"/>
              <a:defRPr sz="1100" b="0">
                <a:solidFill>
                  <a:schemeClr val="tx1"/>
                </a:solidFill>
              </a:defRPr>
            </a:lvl3pPr>
            <a:lvl4pPr marL="795528" indent="-228600">
              <a:buClr>
                <a:schemeClr val="tx1"/>
              </a:buClr>
              <a:buFont typeface="+mj-lt"/>
              <a:buAutoNum type="arabicPeriod"/>
              <a:defRPr sz="1100" b="0">
                <a:solidFill>
                  <a:schemeClr val="tx1"/>
                </a:solidFill>
              </a:defRPr>
            </a:lvl4pPr>
            <a:lvl5pPr marL="978408" indent="-228600">
              <a:buClr>
                <a:schemeClr val="tx1"/>
              </a:buClr>
              <a:buFont typeface="+mj-lt"/>
              <a:buAutoNum type="arabicPeriod"/>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93224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14352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5" imgW="286" imgH="286" progId="TCLayout.ActiveDocument.1">
                  <p:embed/>
                </p:oleObj>
              </mc:Choice>
              <mc:Fallback>
                <p:oleObj name="think-cell Slide" r:id="rId5" imgW="286" imgH="28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a:extLst>
              <a:ext uri="{FF2B5EF4-FFF2-40B4-BE49-F238E27FC236}">
                <a16:creationId xmlns:a16="http://schemas.microsoft.com/office/drawing/2014/main" id="{2E148DD3-DD87-154B-80B4-2421965D3C83}"/>
              </a:ext>
            </a:extLst>
          </p:cNvPr>
          <p:cNvSpPr/>
          <p:nvPr userDrawn="1"/>
        </p:nvSpPr>
        <p:spPr>
          <a:xfrm>
            <a:off x="1" y="1714500"/>
            <a:ext cx="12192000" cy="3429000"/>
          </a:xfrm>
          <a:prstGeom prst="rect">
            <a:avLst/>
          </a:prstGeom>
          <a:solidFill>
            <a:srgbClr val="0A3161"/>
          </a:solidFill>
          <a:ln w="12700">
            <a:miter lim="400000"/>
          </a:ln>
        </p:spPr>
        <p:txBody>
          <a:bodyPr lIns="0" tIns="0" rIns="0" bIns="0" anchor="ctr"/>
          <a:lstStyle/>
          <a:p>
            <a:pPr lvl="0"/>
            <a:endParaRPr lang="en-US" sz="1600" b="0" noProof="0" dirty="0">
              <a:solidFill>
                <a:srgbClr val="FFFFFF"/>
              </a:solidFill>
            </a:endParaRPr>
          </a:p>
        </p:txBody>
      </p:sp>
      <p:sp>
        <p:nvSpPr>
          <p:cNvPr id="6" name="Rectangle">
            <a:extLst>
              <a:ext uri="{FF2B5EF4-FFF2-40B4-BE49-F238E27FC236}">
                <a16:creationId xmlns:a16="http://schemas.microsoft.com/office/drawing/2014/main" id="{742E4732-0E8F-7B46-BD08-0F2EE0DA8786}"/>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7" name="Title Placeholder 1">
            <a:extLst>
              <a:ext uri="{FF2B5EF4-FFF2-40B4-BE49-F238E27FC236}">
                <a16:creationId xmlns:a16="http://schemas.microsoft.com/office/drawing/2014/main" id="{6E73F81A-7260-5C4F-A7FF-CA2CC731BC33}"/>
              </a:ext>
            </a:extLst>
          </p:cNvPr>
          <p:cNvSpPr>
            <a:spLocks noGrp="1"/>
          </p:cNvSpPr>
          <p:nvPr>
            <p:ph type="title" hasCustomPrompt="1"/>
          </p:nvPr>
        </p:nvSpPr>
        <p:spPr>
          <a:xfrm>
            <a:off x="5443870" y="942871"/>
            <a:ext cx="5711810" cy="587584"/>
          </a:xfrm>
          <a:prstGeom prst="rect">
            <a:avLst/>
          </a:prstGeom>
        </p:spPr>
        <p:txBody>
          <a:bodyPr vert="horz" lIns="91440" tIns="45720" rIns="91440" bIns="45720" rtlCol="0" anchor="ctr">
            <a:noAutofit/>
          </a:bodyPr>
          <a:lstStyle>
            <a:lvl1pPr>
              <a:defRPr sz="2400"/>
            </a:lvl1pPr>
          </a:lstStyle>
          <a:p>
            <a:r>
              <a:rPr lang="en-US" noProof="0" dirty="0"/>
              <a:t>CLICK TO EDIT MASTER TITLE STYLE</a:t>
            </a:r>
          </a:p>
        </p:txBody>
      </p:sp>
      <p:sp>
        <p:nvSpPr>
          <p:cNvPr id="12" name="Content Placeholder 2"/>
          <p:cNvSpPr>
            <a:spLocks noGrp="1"/>
          </p:cNvSpPr>
          <p:nvPr>
            <p:ph idx="15"/>
          </p:nvPr>
        </p:nvSpPr>
        <p:spPr>
          <a:xfrm>
            <a:off x="5443870" y="1973589"/>
            <a:ext cx="5711810" cy="3941540"/>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2"/>
          <p:cNvSpPr>
            <a:spLocks noGrp="1"/>
          </p:cNvSpPr>
          <p:nvPr>
            <p:ph idx="11"/>
          </p:nvPr>
        </p:nvSpPr>
        <p:spPr>
          <a:xfrm>
            <a:off x="605170" y="621039"/>
            <a:ext cx="4589130" cy="5603086"/>
          </a:xfrm>
          <a:solidFill>
            <a:srgbClr val="EDEFF7"/>
          </a:solidFill>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1" name="TextBox 2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4" name="TextBox 13">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144252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lient Quot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41990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86" imgH="286" progId="TCLayout.ActiveDocument.1">
                  <p:embed/>
                </p:oleObj>
              </mc:Choice>
              <mc:Fallback>
                <p:oleObj name="think-cell Slide" r:id="rId5" imgW="286" imgH="286"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105C2191-88F7-4148-96FD-E129F707E038}"/>
              </a:ext>
            </a:extLst>
          </p:cNvPr>
          <p:cNvCxnSpPr/>
          <p:nvPr userDrawn="1"/>
        </p:nvCxnSpPr>
        <p:spPr>
          <a:xfrm>
            <a:off x="6818393" y="999565"/>
            <a:ext cx="0" cy="4858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61FB2196-E251-5A40-86F7-6092CEBFA133}"/>
              </a:ext>
            </a:extLst>
          </p:cNvPr>
          <p:cNvSpPr>
            <a:spLocks noGrp="1"/>
          </p:cNvSpPr>
          <p:nvPr>
            <p:ph type="title" hasCustomPrompt="1"/>
          </p:nvPr>
        </p:nvSpPr>
        <p:spPr>
          <a:xfrm>
            <a:off x="635000" y="3135207"/>
            <a:ext cx="5460992" cy="587584"/>
          </a:xfrm>
          <a:prstGeom prst="rect">
            <a:avLst/>
          </a:prstGeom>
        </p:spPr>
        <p:txBody>
          <a:bodyPr vert="horz" lIns="91440" tIns="45720" rIns="91440" bIns="45720" rtlCol="0" anchor="ctr">
            <a:noAutofit/>
          </a:bodyPr>
          <a:lstStyle>
            <a:lvl1pPr algn="r">
              <a:defRPr sz="4400" cap="all" baseline="0"/>
            </a:lvl1pPr>
          </a:lstStyle>
          <a:p>
            <a:r>
              <a:rPr lang="en-US" noProof="0" dirty="0"/>
              <a:t>Title goes here</a:t>
            </a:r>
          </a:p>
        </p:txBody>
      </p:sp>
      <p:sp>
        <p:nvSpPr>
          <p:cNvPr id="12" name="Content Placeholder 3">
            <a:extLst>
              <a:ext uri="{FF2B5EF4-FFF2-40B4-BE49-F238E27FC236}">
                <a16:creationId xmlns:a16="http://schemas.microsoft.com/office/drawing/2014/main" id="{C2FACD1B-0D9C-A547-98A0-D66C341D3D74}"/>
              </a:ext>
            </a:extLst>
          </p:cNvPr>
          <p:cNvSpPr>
            <a:spLocks noGrp="1"/>
          </p:cNvSpPr>
          <p:nvPr>
            <p:ph sz="half" idx="2" hasCustomPrompt="1"/>
          </p:nvPr>
        </p:nvSpPr>
        <p:spPr>
          <a:xfrm>
            <a:off x="7540794" y="831286"/>
            <a:ext cx="4016206" cy="5195425"/>
          </a:xfrm>
        </p:spPr>
        <p:txBody>
          <a:bodyPr anchor="ctr">
            <a:normAutofit/>
          </a:bodyPr>
          <a:lstStyle>
            <a:lvl1pPr marL="342900" indent="-342900">
              <a:buClr>
                <a:schemeClr val="tx1"/>
              </a:buClr>
              <a:buFont typeface="+mj-lt"/>
              <a:buAutoNum type="arabicPeriod"/>
              <a:defRPr sz="1600">
                <a:solidFill>
                  <a:schemeClr val="tx1"/>
                </a:solidFill>
              </a:defRPr>
            </a:lvl1pPr>
            <a:lvl2pPr marL="544068" indent="-342900">
              <a:buClr>
                <a:schemeClr val="tx1"/>
              </a:buClr>
              <a:buFont typeface="+mj-lt"/>
              <a:buAutoNum type="arabicPeriod"/>
              <a:defRPr sz="1400"/>
            </a:lvl2pPr>
            <a:lvl3pPr marL="612648" indent="-228600">
              <a:buClr>
                <a:schemeClr val="tx1"/>
              </a:buClr>
              <a:buFont typeface="+mj-lt"/>
              <a:buAutoNum type="arabicPeriod"/>
              <a:defRPr sz="1100"/>
            </a:lvl3pPr>
            <a:lvl4pPr marL="795528" indent="-228600">
              <a:buClr>
                <a:schemeClr val="tx1"/>
              </a:buClr>
              <a:buFont typeface="+mj-lt"/>
              <a:buAutoNum type="arabicPeriod"/>
              <a:defRPr sz="1100"/>
            </a:lvl4pPr>
            <a:lvl5pPr marL="978408" indent="-228600">
              <a:buClr>
                <a:schemeClr val="tx1"/>
              </a:buClr>
              <a:buFont typeface="+mj-lt"/>
              <a:buAutoNum type="arabicPeriod"/>
              <a:defRPr sz="1100"/>
            </a:lvl5pPr>
          </a:lstStyle>
          <a:p>
            <a:pPr lvl="0"/>
            <a:r>
              <a:rPr lang="en-US" noProof="0"/>
              <a:t>Quote Goes Her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41545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060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a:extLst>
              <a:ext uri="{FF2B5EF4-FFF2-40B4-BE49-F238E27FC236}">
                <a16:creationId xmlns:a16="http://schemas.microsoft.com/office/drawing/2014/main" id="{9C88DF2D-0421-A94C-82C1-867E1E5E4907}"/>
              </a:ext>
            </a:extLst>
          </p:cNvPr>
          <p:cNvSpPr/>
          <p:nvPr userDrawn="1"/>
        </p:nvSpPr>
        <p:spPr>
          <a:xfrm>
            <a:off x="10993582" y="0"/>
            <a:ext cx="1198418" cy="6858000"/>
          </a:xfrm>
          <a:prstGeom prst="rect">
            <a:avLst/>
          </a:prstGeom>
          <a:solidFill>
            <a:srgbClr val="0A3161"/>
          </a:solidFill>
          <a:ln w="12700">
            <a:miter lim="400000"/>
          </a:ln>
        </p:spPr>
        <p:txBody>
          <a:bodyPr lIns="0" tIns="0" rIns="0" bIns="0" anchor="ctr"/>
          <a:lstStyle/>
          <a:p>
            <a:pPr lvl="0"/>
            <a:endParaRPr lang="en-US" sz="1600" b="0" noProof="0" dirty="0">
              <a:solidFill>
                <a:srgbClr val="FFFFFF"/>
              </a:solidFill>
            </a:endParaRPr>
          </a:p>
        </p:txBody>
      </p:sp>
      <p:sp>
        <p:nvSpPr>
          <p:cNvPr id="10" name="Rectangle">
            <a:extLst>
              <a:ext uri="{FF2B5EF4-FFF2-40B4-BE49-F238E27FC236}">
                <a16:creationId xmlns:a16="http://schemas.microsoft.com/office/drawing/2014/main" id="{334D05A3-7A20-9447-8D39-F2980D85413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8" name="Rectangle 7">
            <a:extLst>
              <a:ext uri="{FF2B5EF4-FFF2-40B4-BE49-F238E27FC236}">
                <a16:creationId xmlns:a16="http://schemas.microsoft.com/office/drawing/2014/main" id="{DA134939-39C0-4522-A125-A13DFDA66490}"/>
              </a:ext>
            </a:extLst>
          </p:cNvPr>
          <p:cNvSpPr/>
          <p:nvPr/>
        </p:nvSpPr>
        <p:spPr>
          <a:xfrm>
            <a:off x="634999" y="3927894"/>
            <a:ext cx="10922000" cy="2326856"/>
          </a:xfrm>
          <a:prstGeom prst="rect">
            <a:avLst/>
          </a:prstGeom>
          <a:solidFill>
            <a:srgbClr val="F6F9F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 name="Picture Placeholder 2"/>
          <p:cNvSpPr>
            <a:spLocks noGrp="1" noChangeAspect="1"/>
          </p:cNvSpPr>
          <p:nvPr>
            <p:ph type="pic" idx="1"/>
          </p:nvPr>
        </p:nvSpPr>
        <p:spPr>
          <a:xfrm>
            <a:off x="635001" y="603250"/>
            <a:ext cx="10921998" cy="3294019"/>
          </a:xfrm>
          <a:solidFill>
            <a:schemeClr val="bg1"/>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dirty="0"/>
              <a:t>Click icon to add picture</a:t>
            </a:r>
          </a:p>
        </p:txBody>
      </p:sp>
      <p:sp>
        <p:nvSpPr>
          <p:cNvPr id="2" name="Title 1"/>
          <p:cNvSpPr>
            <a:spLocks noGrp="1"/>
          </p:cNvSpPr>
          <p:nvPr>
            <p:ph type="title"/>
          </p:nvPr>
        </p:nvSpPr>
        <p:spPr>
          <a:xfrm>
            <a:off x="1097279" y="4298078"/>
            <a:ext cx="10113645" cy="743682"/>
          </a:xfrm>
          <a:prstGeom prst="rect">
            <a:avLst/>
          </a:prstGeom>
        </p:spPr>
        <p:txBody>
          <a:bodyPr vert="horz" tIns="0" bIns="0" anchor="b">
            <a:noAutofit/>
          </a:bodyPr>
          <a:lstStyle>
            <a:lvl1pPr>
              <a:defRPr sz="3600" b="0">
                <a:solidFill>
                  <a:schemeClr val="tx1"/>
                </a:solidFill>
              </a:defRPr>
            </a:lvl1pPr>
          </a:lstStyle>
          <a:p>
            <a:r>
              <a:rPr lang="en-US" noProof="0"/>
              <a:t>Click to edit Master title style</a:t>
            </a:r>
          </a:p>
        </p:txBody>
      </p:sp>
      <p:sp>
        <p:nvSpPr>
          <p:cNvPr id="4" name="Text Placeholder 3"/>
          <p:cNvSpPr>
            <a:spLocks noGrp="1"/>
          </p:cNvSpPr>
          <p:nvPr>
            <p:ph type="body" sz="half" idx="2" hasCustomPrompt="1"/>
          </p:nvPr>
        </p:nvSpPr>
        <p:spPr>
          <a:xfrm>
            <a:off x="1097279" y="5213716"/>
            <a:ext cx="10113264" cy="609600"/>
          </a:xfrm>
        </p:spPr>
        <p:txBody>
          <a:bodyPr lIns="0" tIns="0" rIns="0" bIns="0">
            <a:normAutofit/>
          </a:bodyPr>
          <a:lstStyle>
            <a:lvl1pPr marL="0" indent="0">
              <a:spcBef>
                <a:spcPts val="0"/>
              </a:spcBef>
              <a:spcAft>
                <a:spcPts val="600"/>
              </a:spcAft>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5" name="Oval 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20" name="Picture 1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8346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583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387882"/>
            <a:ext cx="9976848"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sp>
        <p:nvSpPr>
          <p:cNvPr id="20"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08839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8487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00051" y="387882"/>
            <a:ext cx="9976848" cy="566735"/>
          </a:xfrm>
        </p:spPr>
        <p:txBody>
          <a:bodyPr vert="horz"/>
          <a:lstStyle>
            <a:lvl1pPr>
              <a:defRPr sz="3000">
                <a:solidFill>
                  <a:srgbClr val="0A3161"/>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5135164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912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dirty="0">
              <a:solidFill>
                <a:schemeClr val="bg1"/>
              </a:solidFill>
            </a:endParaRPr>
          </a:p>
        </p:txBody>
      </p:sp>
      <p:sp>
        <p:nvSpPr>
          <p:cNvPr id="9" name="Title 1"/>
          <p:cNvSpPr>
            <a:spLocks noGrp="1"/>
          </p:cNvSpPr>
          <p:nvPr>
            <p:ph type="title" hasCustomPrompt="1"/>
          </p:nvPr>
        </p:nvSpPr>
        <p:spPr bwMode="ltGray">
          <a:xfrm>
            <a:off x="400051" y="1544274"/>
            <a:ext cx="3682349" cy="1495794"/>
          </a:xfrm>
          <a:noFill/>
        </p:spPr>
        <p:txBody>
          <a:bodyPr vert="horz" wrap="square" lIns="0" tIns="0" rIns="320040" bIns="0" anchor="b">
            <a:noAutofit/>
          </a:bodyPr>
          <a:lstStyle>
            <a:lvl1pPr>
              <a:defRPr sz="3000">
                <a:solidFill>
                  <a:srgbClr val="0A3161"/>
                </a:solidFill>
                <a:latin typeface="+mj-lt"/>
                <a:ea typeface="+mj-ea"/>
                <a:cs typeface="+mj-cs"/>
              </a:defRPr>
            </a:lvl1pPr>
          </a:lstStyle>
          <a:p>
            <a:r>
              <a:rPr lang="en-US" dirty="0"/>
              <a:t>Click to</a:t>
            </a:r>
            <a:br>
              <a:rPr lang="en-US" dirty="0"/>
            </a:br>
            <a:r>
              <a:rPr lang="en-US" dirty="0"/>
              <a:t>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15421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7060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25154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484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142031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745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19467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545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dirty="0"/>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44854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194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90245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830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4012"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a:t>
            </a:r>
            <a:br>
              <a:rPr lang="en-US" dirty="0"/>
            </a:br>
            <a:r>
              <a:rPr lang="en-US" dirty="0"/>
              <a:t>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dirty="0">
              <a:solidFill>
                <a:schemeClr val="bg1">
                  <a:lumMod val="50000"/>
                </a:schemeClr>
              </a:solidFill>
              <a:latin typeface="+mn-lt"/>
              <a:ea typeface="+mn-ea"/>
              <a:cs typeface="+mn-cs"/>
              <a:sym typeface="Trebuchet MS" panose="020B0603020202020204" pitchFamily="34" charset="0"/>
            </a:endParaRP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dirty="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933964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4.xml"/><Relationship Id="rId21" Type="http://schemas.openxmlformats.org/officeDocument/2006/relationships/slideLayout" Target="../slideLayouts/slideLayout99.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63" Type="http://schemas.openxmlformats.org/officeDocument/2006/relationships/slideLayout" Target="../slideLayouts/slideLayout141.xml"/><Relationship Id="rId68" Type="http://schemas.openxmlformats.org/officeDocument/2006/relationships/slideLayout" Target="../slideLayouts/slideLayout146.xml"/><Relationship Id="rId16" Type="http://schemas.openxmlformats.org/officeDocument/2006/relationships/slideLayout" Target="../slideLayouts/slideLayout94.xml"/><Relationship Id="rId11" Type="http://schemas.openxmlformats.org/officeDocument/2006/relationships/slideLayout" Target="../slideLayouts/slideLayout89.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53" Type="http://schemas.openxmlformats.org/officeDocument/2006/relationships/slideLayout" Target="../slideLayouts/slideLayout131.xml"/><Relationship Id="rId58" Type="http://schemas.openxmlformats.org/officeDocument/2006/relationships/slideLayout" Target="../slideLayouts/slideLayout136.xml"/><Relationship Id="rId74" Type="http://schemas.openxmlformats.org/officeDocument/2006/relationships/slideLayout" Target="../slideLayouts/slideLayout152.xml"/><Relationship Id="rId79" Type="http://schemas.openxmlformats.org/officeDocument/2006/relationships/theme" Target="../theme/theme2.xml"/><Relationship Id="rId5" Type="http://schemas.openxmlformats.org/officeDocument/2006/relationships/slideLayout" Target="../slideLayouts/slideLayout83.xml"/><Relationship Id="rId61" Type="http://schemas.openxmlformats.org/officeDocument/2006/relationships/slideLayout" Target="../slideLayouts/slideLayout139.xml"/><Relationship Id="rId82" Type="http://schemas.openxmlformats.org/officeDocument/2006/relationships/oleObject" Target="../embeddings/oleObject76.bin"/><Relationship Id="rId19" Type="http://schemas.openxmlformats.org/officeDocument/2006/relationships/slideLayout" Target="../slideLayouts/slideLayout9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56" Type="http://schemas.openxmlformats.org/officeDocument/2006/relationships/slideLayout" Target="../slideLayouts/slideLayout134.xml"/><Relationship Id="rId64" Type="http://schemas.openxmlformats.org/officeDocument/2006/relationships/slideLayout" Target="../slideLayouts/slideLayout142.xml"/><Relationship Id="rId69" Type="http://schemas.openxmlformats.org/officeDocument/2006/relationships/slideLayout" Target="../slideLayouts/slideLayout147.xml"/><Relationship Id="rId77" Type="http://schemas.openxmlformats.org/officeDocument/2006/relationships/slideLayout" Target="../slideLayouts/slideLayout155.xml"/><Relationship Id="rId8" Type="http://schemas.openxmlformats.org/officeDocument/2006/relationships/slideLayout" Target="../slideLayouts/slideLayout86.xml"/><Relationship Id="rId51" Type="http://schemas.openxmlformats.org/officeDocument/2006/relationships/slideLayout" Target="../slideLayouts/slideLayout129.xml"/><Relationship Id="rId72" Type="http://schemas.openxmlformats.org/officeDocument/2006/relationships/slideLayout" Target="../slideLayouts/slideLayout150.xml"/><Relationship Id="rId80" Type="http://schemas.openxmlformats.org/officeDocument/2006/relationships/vmlDrawing" Target="../drawings/vmlDrawing76.v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59" Type="http://schemas.openxmlformats.org/officeDocument/2006/relationships/slideLayout" Target="../slideLayouts/slideLayout137.xml"/><Relationship Id="rId67" Type="http://schemas.openxmlformats.org/officeDocument/2006/relationships/slideLayout" Target="../slideLayouts/slideLayout145.xml"/><Relationship Id="rId20" Type="http://schemas.openxmlformats.org/officeDocument/2006/relationships/slideLayout" Target="../slideLayouts/slideLayout98.xml"/><Relationship Id="rId41" Type="http://schemas.openxmlformats.org/officeDocument/2006/relationships/slideLayout" Target="../slideLayouts/slideLayout119.xml"/><Relationship Id="rId54" Type="http://schemas.openxmlformats.org/officeDocument/2006/relationships/slideLayout" Target="../slideLayouts/slideLayout132.xml"/><Relationship Id="rId62" Type="http://schemas.openxmlformats.org/officeDocument/2006/relationships/slideLayout" Target="../slideLayouts/slideLayout140.xml"/><Relationship Id="rId70" Type="http://schemas.openxmlformats.org/officeDocument/2006/relationships/slideLayout" Target="../slideLayouts/slideLayout148.xml"/><Relationship Id="rId75" Type="http://schemas.openxmlformats.org/officeDocument/2006/relationships/slideLayout" Target="../slideLayouts/slideLayout153.xml"/><Relationship Id="rId83" Type="http://schemas.openxmlformats.org/officeDocument/2006/relationships/image" Target="../media/image1.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57" Type="http://schemas.openxmlformats.org/officeDocument/2006/relationships/slideLayout" Target="../slideLayouts/slideLayout135.xml"/><Relationship Id="rId10" Type="http://schemas.openxmlformats.org/officeDocument/2006/relationships/slideLayout" Target="../slideLayouts/slideLayout88.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slideLayout" Target="../slideLayouts/slideLayout130.xml"/><Relationship Id="rId60" Type="http://schemas.openxmlformats.org/officeDocument/2006/relationships/slideLayout" Target="../slideLayouts/slideLayout138.xml"/><Relationship Id="rId65" Type="http://schemas.openxmlformats.org/officeDocument/2006/relationships/slideLayout" Target="../slideLayouts/slideLayout143.xml"/><Relationship Id="rId73" Type="http://schemas.openxmlformats.org/officeDocument/2006/relationships/slideLayout" Target="../slideLayouts/slideLayout151.xml"/><Relationship Id="rId78" Type="http://schemas.openxmlformats.org/officeDocument/2006/relationships/slideLayout" Target="../slideLayouts/slideLayout156.xml"/><Relationship Id="rId81" Type="http://schemas.openxmlformats.org/officeDocument/2006/relationships/tags" Target="../tags/tag160.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9" Type="http://schemas.openxmlformats.org/officeDocument/2006/relationships/slideLayout" Target="../slideLayouts/slideLayout117.xml"/><Relationship Id="rId34" Type="http://schemas.openxmlformats.org/officeDocument/2006/relationships/slideLayout" Target="../slideLayouts/slideLayout112.xml"/><Relationship Id="rId50" Type="http://schemas.openxmlformats.org/officeDocument/2006/relationships/slideLayout" Target="../slideLayouts/slideLayout128.xml"/><Relationship Id="rId55" Type="http://schemas.openxmlformats.org/officeDocument/2006/relationships/slideLayout" Target="../slideLayouts/slideLayout133.xml"/><Relationship Id="rId76" Type="http://schemas.openxmlformats.org/officeDocument/2006/relationships/slideLayout" Target="../slideLayouts/slideLayout154.xml"/><Relationship Id="rId7" Type="http://schemas.openxmlformats.org/officeDocument/2006/relationships/slideLayout" Target="../slideLayouts/slideLayout85.xml"/><Relationship Id="rId71" Type="http://schemas.openxmlformats.org/officeDocument/2006/relationships/slideLayout" Target="../slideLayouts/slideLayout149.xml"/><Relationship Id="rId2" Type="http://schemas.openxmlformats.org/officeDocument/2006/relationships/slideLayout" Target="../slideLayouts/slideLayout80.xml"/><Relationship Id="rId29" Type="http://schemas.openxmlformats.org/officeDocument/2006/relationships/slideLayout" Target="../slideLayouts/slideLayout107.xml"/><Relationship Id="rId24" Type="http://schemas.openxmlformats.org/officeDocument/2006/relationships/slideLayout" Target="../slideLayouts/slideLayout102.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66"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1"/>
            </p:custDataLst>
            <p:extLst>
              <p:ext uri="{D42A27DB-BD31-4B8C-83A1-F6EECF244321}">
                <p14:modId xmlns:p14="http://schemas.microsoft.com/office/powerpoint/2010/main" val="1446524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00051" y="387882"/>
            <a:ext cx="9976848" cy="566735"/>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400051" y="1825625"/>
            <a:ext cx="113919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190" r:id="rId7"/>
    <p:sldLayoutId id="2147485191" r:id="rId8"/>
    <p:sldLayoutId id="2147485192" r:id="rId9"/>
    <p:sldLayoutId id="2147485193" r:id="rId10"/>
    <p:sldLayoutId id="2147485194" r:id="rId11"/>
    <p:sldLayoutId id="2147485195" r:id="rId12"/>
    <p:sldLayoutId id="2147485086" r:id="rId13"/>
    <p:sldLayoutId id="2147485183" r:id="rId14"/>
    <p:sldLayoutId id="2147485158" r:id="rId15"/>
    <p:sldLayoutId id="2147485113" r:id="rId16"/>
    <p:sldLayoutId id="2147485114" r:id="rId17"/>
    <p:sldLayoutId id="2147485154" r:id="rId18"/>
    <p:sldLayoutId id="2147485162" r:id="rId19"/>
    <p:sldLayoutId id="2147485149" r:id="rId20"/>
    <p:sldLayoutId id="2147485087" r:id="rId21"/>
    <p:sldLayoutId id="2147485112" r:id="rId22"/>
    <p:sldLayoutId id="2147485155" r:id="rId23"/>
    <p:sldLayoutId id="2147485164" r:id="rId24"/>
    <p:sldLayoutId id="2147485109" r:id="rId25"/>
    <p:sldLayoutId id="2147485165" r:id="rId26"/>
    <p:sldLayoutId id="2147485110" r:id="rId27"/>
    <p:sldLayoutId id="2147485166" r:id="rId28"/>
    <p:sldLayoutId id="2147485156" r:id="rId29"/>
    <p:sldLayoutId id="2147485167" r:id="rId30"/>
    <p:sldLayoutId id="2147485108" r:id="rId31"/>
    <p:sldLayoutId id="2147485107" r:id="rId32"/>
    <p:sldLayoutId id="2147485106" r:id="rId33"/>
    <p:sldLayoutId id="2147485090" r:id="rId34"/>
    <p:sldLayoutId id="2147485091" r:id="rId35"/>
    <p:sldLayoutId id="2147485092" r:id="rId36"/>
    <p:sldLayoutId id="2147485093" r:id="rId37"/>
    <p:sldLayoutId id="2147485116" r:id="rId38"/>
    <p:sldLayoutId id="2147485161" r:id="rId39"/>
    <p:sldLayoutId id="2147485159" r:id="rId40"/>
    <p:sldLayoutId id="2147485119" r:id="rId41"/>
    <p:sldLayoutId id="2147485184" r:id="rId42"/>
    <p:sldLayoutId id="2147485137" r:id="rId43"/>
    <p:sldLayoutId id="2147485120" r:id="rId44"/>
    <p:sldLayoutId id="2147485121" r:id="rId45"/>
    <p:sldLayoutId id="2147485141" r:id="rId46"/>
    <p:sldLayoutId id="2147485163" r:id="rId47"/>
    <p:sldLayoutId id="2147485139" r:id="rId48"/>
    <p:sldLayoutId id="2147485140" r:id="rId49"/>
    <p:sldLayoutId id="2147485122" r:id="rId50"/>
    <p:sldLayoutId id="2147485123" r:id="rId51"/>
    <p:sldLayoutId id="2147485151" r:id="rId52"/>
    <p:sldLayoutId id="2147485168" r:id="rId53"/>
    <p:sldLayoutId id="2147485127" r:id="rId54"/>
    <p:sldLayoutId id="2147485169" r:id="rId55"/>
    <p:sldLayoutId id="2147485126" r:id="rId56"/>
    <p:sldLayoutId id="2147485170" r:id="rId57"/>
    <p:sldLayoutId id="2147485153" r:id="rId58"/>
    <p:sldLayoutId id="2147485171" r:id="rId59"/>
    <p:sldLayoutId id="2147485128" r:id="rId60"/>
    <p:sldLayoutId id="2147485129" r:id="rId61"/>
    <p:sldLayoutId id="2147485130" r:id="rId62"/>
    <p:sldLayoutId id="2147485131" r:id="rId63"/>
    <p:sldLayoutId id="2147485145" r:id="rId64"/>
    <p:sldLayoutId id="2147485133" r:id="rId65"/>
    <p:sldLayoutId id="2147485144" r:id="rId66"/>
    <p:sldLayoutId id="2147485134" r:id="rId67"/>
    <p:sldLayoutId id="2147485146" r:id="rId68"/>
    <p:sldLayoutId id="2147485160" r:id="rId69"/>
    <p:sldLayoutId id="2147485172" r:id="rId70"/>
    <p:sldLayoutId id="2147485173" r:id="rId71"/>
    <p:sldLayoutId id="2147485174" r:id="rId72"/>
    <p:sldLayoutId id="2147485175" r:id="rId73"/>
    <p:sldLayoutId id="2147485176" r:id="rId74"/>
    <p:sldLayoutId id="2147485177" r:id="rId75"/>
    <p:sldLayoutId id="2147485178" r:id="rId76"/>
    <p:sldLayoutId id="2147485179" r:id="rId77"/>
    <p:sldLayoutId id="2147485180"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3000" kern="1200" cap="all" baseline="0">
          <a:solidFill>
            <a:srgbClr val="0A316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1"/>
            </p:custDataLst>
            <p:extLst>
              <p:ext uri="{D42A27DB-BD31-4B8C-83A1-F6EECF244321}">
                <p14:modId xmlns:p14="http://schemas.microsoft.com/office/powerpoint/2010/main" val="1446524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00051" y="387882"/>
            <a:ext cx="9976848" cy="566735"/>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400051" y="1825625"/>
            <a:ext cx="1139190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tx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8344124"/>
      </p:ext>
    </p:extLst>
  </p:cSld>
  <p:clrMap bg1="lt1" tx1="dk1" bg2="lt2" tx2="dk2" accent1="accent1" accent2="accent2" accent3="accent3" accent4="accent4" accent5="accent5" accent6="accent6" hlink="hlink" folHlink="folHlink"/>
  <p:sldLayoutIdLst>
    <p:sldLayoutId id="2147485197" r:id="rId1"/>
    <p:sldLayoutId id="2147485198" r:id="rId2"/>
    <p:sldLayoutId id="2147485199" r:id="rId3"/>
    <p:sldLayoutId id="2147485200" r:id="rId4"/>
    <p:sldLayoutId id="2147485201" r:id="rId5"/>
    <p:sldLayoutId id="2147485202" r:id="rId6"/>
    <p:sldLayoutId id="2147485203" r:id="rId7"/>
    <p:sldLayoutId id="2147485204" r:id="rId8"/>
    <p:sldLayoutId id="2147485205" r:id="rId9"/>
    <p:sldLayoutId id="2147485206" r:id="rId10"/>
    <p:sldLayoutId id="2147485207" r:id="rId11"/>
    <p:sldLayoutId id="2147485208" r:id="rId12"/>
    <p:sldLayoutId id="2147485209" r:id="rId13"/>
    <p:sldLayoutId id="2147485210" r:id="rId14"/>
    <p:sldLayoutId id="2147485211" r:id="rId15"/>
    <p:sldLayoutId id="2147485212" r:id="rId16"/>
    <p:sldLayoutId id="2147485213" r:id="rId17"/>
    <p:sldLayoutId id="2147485214" r:id="rId18"/>
    <p:sldLayoutId id="2147485215" r:id="rId19"/>
    <p:sldLayoutId id="2147485216" r:id="rId20"/>
    <p:sldLayoutId id="2147485217" r:id="rId21"/>
    <p:sldLayoutId id="2147485218" r:id="rId22"/>
    <p:sldLayoutId id="2147485219" r:id="rId23"/>
    <p:sldLayoutId id="2147485220" r:id="rId24"/>
    <p:sldLayoutId id="2147485221" r:id="rId25"/>
    <p:sldLayoutId id="2147485222" r:id="rId26"/>
    <p:sldLayoutId id="2147485223" r:id="rId27"/>
    <p:sldLayoutId id="2147485224" r:id="rId28"/>
    <p:sldLayoutId id="2147485225" r:id="rId29"/>
    <p:sldLayoutId id="2147485226" r:id="rId30"/>
    <p:sldLayoutId id="2147485227" r:id="rId31"/>
    <p:sldLayoutId id="2147485228" r:id="rId32"/>
    <p:sldLayoutId id="2147485229" r:id="rId33"/>
    <p:sldLayoutId id="2147485230" r:id="rId34"/>
    <p:sldLayoutId id="2147485231" r:id="rId35"/>
    <p:sldLayoutId id="2147485232" r:id="rId36"/>
    <p:sldLayoutId id="2147485233" r:id="rId37"/>
    <p:sldLayoutId id="2147485234" r:id="rId38"/>
    <p:sldLayoutId id="2147485235" r:id="rId39"/>
    <p:sldLayoutId id="2147485236" r:id="rId40"/>
    <p:sldLayoutId id="2147485237" r:id="rId41"/>
    <p:sldLayoutId id="2147485238" r:id="rId42"/>
    <p:sldLayoutId id="2147485239" r:id="rId43"/>
    <p:sldLayoutId id="2147485240" r:id="rId44"/>
    <p:sldLayoutId id="2147485241" r:id="rId45"/>
    <p:sldLayoutId id="2147485242" r:id="rId46"/>
    <p:sldLayoutId id="2147485243" r:id="rId47"/>
    <p:sldLayoutId id="2147485244" r:id="rId48"/>
    <p:sldLayoutId id="2147485245" r:id="rId49"/>
    <p:sldLayoutId id="2147485246" r:id="rId50"/>
    <p:sldLayoutId id="2147485247" r:id="rId51"/>
    <p:sldLayoutId id="2147485248" r:id="rId52"/>
    <p:sldLayoutId id="2147485249" r:id="rId53"/>
    <p:sldLayoutId id="2147485250" r:id="rId54"/>
    <p:sldLayoutId id="2147485251" r:id="rId55"/>
    <p:sldLayoutId id="2147485252" r:id="rId56"/>
    <p:sldLayoutId id="2147485253" r:id="rId57"/>
    <p:sldLayoutId id="2147485254" r:id="rId58"/>
    <p:sldLayoutId id="2147485255" r:id="rId59"/>
    <p:sldLayoutId id="2147485256" r:id="rId60"/>
    <p:sldLayoutId id="2147485257" r:id="rId61"/>
    <p:sldLayoutId id="2147485258" r:id="rId62"/>
    <p:sldLayoutId id="2147485259" r:id="rId63"/>
    <p:sldLayoutId id="2147485260" r:id="rId64"/>
    <p:sldLayoutId id="2147485261" r:id="rId65"/>
    <p:sldLayoutId id="2147485262" r:id="rId66"/>
    <p:sldLayoutId id="2147485263" r:id="rId67"/>
    <p:sldLayoutId id="2147485264" r:id="rId68"/>
    <p:sldLayoutId id="2147485265" r:id="rId69"/>
    <p:sldLayoutId id="2147485266" r:id="rId70"/>
    <p:sldLayoutId id="2147485267" r:id="rId71"/>
    <p:sldLayoutId id="2147485268" r:id="rId72"/>
    <p:sldLayoutId id="2147485269" r:id="rId73"/>
    <p:sldLayoutId id="2147485270" r:id="rId74"/>
    <p:sldLayoutId id="2147485271" r:id="rId75"/>
    <p:sldLayoutId id="2147485272" r:id="rId76"/>
    <p:sldLayoutId id="2147485273" r:id="rId77"/>
    <p:sldLayoutId id="2147485274"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3000" kern="1200" cap="all" baseline="0">
          <a:solidFill>
            <a:srgbClr val="0A316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cdt.ca.gov/middle-mile-advisory-committee/middle-mile-faq/"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30.xml"/><Relationship Id="rId1" Type="http://schemas.openxmlformats.org/officeDocument/2006/relationships/vmlDrawing" Target="../drawings/vmlDrawing158.vml"/><Relationship Id="rId5" Type="http://schemas.openxmlformats.org/officeDocument/2006/relationships/image" Target="../media/image16.emf"/><Relationship Id="rId4" Type="http://schemas.openxmlformats.org/officeDocument/2006/relationships/oleObject" Target="../embeddings/oleObject158.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19.xml"/><Relationship Id="rId7" Type="http://schemas.openxmlformats.org/officeDocument/2006/relationships/oleObject" Target="../embeddings/oleObject151.bin"/><Relationship Id="rId2" Type="http://schemas.openxmlformats.org/officeDocument/2006/relationships/tags" Target="../tags/tag318.xml"/><Relationship Id="rId1" Type="http://schemas.openxmlformats.org/officeDocument/2006/relationships/vmlDrawing" Target="../drawings/vmlDrawing151.vml"/><Relationship Id="rId6" Type="http://schemas.openxmlformats.org/officeDocument/2006/relationships/notesSlide" Target="../notesSlides/notesSlide2.xml"/><Relationship Id="rId5" Type="http://schemas.openxmlformats.org/officeDocument/2006/relationships/slideLayout" Target="../slideLayouts/slideLayout13.xml"/><Relationship Id="rId4" Type="http://schemas.openxmlformats.org/officeDocument/2006/relationships/tags" Target="../tags/tag320.xml"/><Relationship Id="rId9" Type="http://schemas.openxmlformats.org/officeDocument/2006/relationships/hyperlink" Target="https://www.build.gov/" TargetMode="Externa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322.xml"/><Relationship Id="rId7" Type="http://schemas.openxmlformats.org/officeDocument/2006/relationships/notesSlide" Target="../notesSlides/notesSlide3.xml"/><Relationship Id="rId2" Type="http://schemas.openxmlformats.org/officeDocument/2006/relationships/tags" Target="../tags/tag321.xml"/><Relationship Id="rId1" Type="http://schemas.openxmlformats.org/officeDocument/2006/relationships/vmlDrawing" Target="../drawings/vmlDrawing152.vml"/><Relationship Id="rId6" Type="http://schemas.openxmlformats.org/officeDocument/2006/relationships/slideLayout" Target="../slideLayouts/slideLayout41.xml"/><Relationship Id="rId5" Type="http://schemas.openxmlformats.org/officeDocument/2006/relationships/tags" Target="../tags/tag324.xml"/><Relationship Id="rId4" Type="http://schemas.openxmlformats.org/officeDocument/2006/relationships/tags" Target="../tags/tag323.xml"/><Relationship Id="rId9"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5.xml"/><Relationship Id="rId1" Type="http://schemas.openxmlformats.org/officeDocument/2006/relationships/vmlDrawing" Target="../drawings/vmlDrawing153.vml"/><Relationship Id="rId6" Type="http://schemas.openxmlformats.org/officeDocument/2006/relationships/image" Target="../media/image16.emf"/><Relationship Id="rId5" Type="http://schemas.openxmlformats.org/officeDocument/2006/relationships/oleObject" Target="../embeddings/oleObject15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6.xml"/><Relationship Id="rId1" Type="http://schemas.openxmlformats.org/officeDocument/2006/relationships/vmlDrawing" Target="../drawings/vmlDrawing154.vml"/><Relationship Id="rId6" Type="http://schemas.openxmlformats.org/officeDocument/2006/relationships/image" Target="../media/image16.emf"/><Relationship Id="rId5" Type="http://schemas.openxmlformats.org/officeDocument/2006/relationships/oleObject" Target="../embeddings/oleObject154.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27.xml"/><Relationship Id="rId1" Type="http://schemas.openxmlformats.org/officeDocument/2006/relationships/vmlDrawing" Target="../drawings/vmlDrawing155.vml"/><Relationship Id="rId6" Type="http://schemas.openxmlformats.org/officeDocument/2006/relationships/image" Target="../media/image16.emf"/><Relationship Id="rId5" Type="http://schemas.openxmlformats.org/officeDocument/2006/relationships/oleObject" Target="../embeddings/oleObject15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328.xml"/><Relationship Id="rId1" Type="http://schemas.openxmlformats.org/officeDocument/2006/relationships/vmlDrawing" Target="../drawings/vmlDrawing156.vml"/><Relationship Id="rId6" Type="http://schemas.openxmlformats.org/officeDocument/2006/relationships/image" Target="../media/image16.emf"/><Relationship Id="rId5" Type="http://schemas.openxmlformats.org/officeDocument/2006/relationships/oleObject" Target="../embeddings/oleObject15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9.xml"/><Relationship Id="rId1" Type="http://schemas.openxmlformats.org/officeDocument/2006/relationships/vmlDrawing" Target="../drawings/vmlDrawing157.vml"/><Relationship Id="rId6" Type="http://schemas.openxmlformats.org/officeDocument/2006/relationships/image" Target="../media/image16.emf"/><Relationship Id="rId5" Type="http://schemas.openxmlformats.org/officeDocument/2006/relationships/oleObject" Target="../embeddings/oleObject157.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484DDDE-1A50-4819-AE57-4160804B6859}"/>
              </a:ext>
            </a:extLst>
          </p:cNvPr>
          <p:cNvSpPr>
            <a:spLocks noGrp="1"/>
          </p:cNvSpPr>
          <p:nvPr>
            <p:ph type="ctrTitle"/>
          </p:nvPr>
        </p:nvSpPr>
        <p:spPr>
          <a:xfrm>
            <a:off x="1097280" y="1363533"/>
            <a:ext cx="10058400" cy="2578399"/>
          </a:xfrm>
        </p:spPr>
        <p:txBody>
          <a:bodyPr vert="horz">
            <a:noAutofit/>
          </a:bodyPr>
          <a:lstStyle/>
          <a:p>
            <a:r>
              <a:rPr lang="en-US" sz="5400" dirty="0"/>
              <a:t>Internet for all</a:t>
            </a:r>
          </a:p>
        </p:txBody>
      </p:sp>
      <p:sp>
        <p:nvSpPr>
          <p:cNvPr id="9" name="Subtitle 8">
            <a:extLst>
              <a:ext uri="{FF2B5EF4-FFF2-40B4-BE49-F238E27FC236}">
                <a16:creationId xmlns:a16="http://schemas.microsoft.com/office/drawing/2014/main" id="{D684182F-9E32-46EB-8446-2893A0D17C70}"/>
              </a:ext>
            </a:extLst>
          </p:cNvPr>
          <p:cNvSpPr>
            <a:spLocks noGrp="1"/>
          </p:cNvSpPr>
          <p:nvPr>
            <p:ph type="subTitle" idx="1"/>
          </p:nvPr>
        </p:nvSpPr>
        <p:spPr>
          <a:xfrm>
            <a:off x="1100051" y="4261973"/>
            <a:ext cx="10058400" cy="702188"/>
          </a:xfrm>
        </p:spPr>
        <p:txBody>
          <a:bodyPr>
            <a:noAutofit/>
          </a:bodyPr>
          <a:lstStyle/>
          <a:p>
            <a:r>
              <a:rPr lang="en-US" sz="1800" dirty="0"/>
              <a:t>Funded by the Bipartisan Infrastructure Law </a:t>
            </a:r>
          </a:p>
          <a:p>
            <a:r>
              <a:rPr lang="en-US" sz="1800" dirty="0"/>
              <a:t>Administered by the department of Commerce's National Telecommunications and Information Administration</a:t>
            </a:r>
          </a:p>
        </p:txBody>
      </p:sp>
      <p:sp>
        <p:nvSpPr>
          <p:cNvPr id="10" name="Text Placeholder 9">
            <a:extLst>
              <a:ext uri="{FF2B5EF4-FFF2-40B4-BE49-F238E27FC236}">
                <a16:creationId xmlns:a16="http://schemas.microsoft.com/office/drawing/2014/main" id="{4B184E2F-121B-4E54-BE75-B81B418A49AE}"/>
              </a:ext>
            </a:extLst>
          </p:cNvPr>
          <p:cNvSpPr>
            <a:spLocks noGrp="1"/>
          </p:cNvSpPr>
          <p:nvPr>
            <p:ph type="body" sz="quarter" idx="13"/>
          </p:nvPr>
        </p:nvSpPr>
        <p:spPr/>
        <p:txBody>
          <a:bodyPr/>
          <a:lstStyle/>
          <a:p>
            <a:r>
              <a:rPr lang="en-US" sz="1800" dirty="0"/>
              <a:t>May 2022</a:t>
            </a:r>
          </a:p>
        </p:txBody>
      </p:sp>
    </p:spTree>
    <p:extLst>
      <p:ext uri="{BB962C8B-B14F-4D97-AF65-F5344CB8AC3E}">
        <p14:creationId xmlns:p14="http://schemas.microsoft.com/office/powerpoint/2010/main" val="4191923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normAutofit fontScale="90000"/>
          </a:bodyPr>
          <a:lstStyle/>
          <a:p>
            <a:pPr defTabSz="1219170">
              <a:buSzPts val="3000"/>
              <a:defRPr/>
            </a:pPr>
            <a:r>
              <a:rPr lang="en-US" cap="none" dirty="0">
                <a:solidFill>
                  <a:srgbClr val="164484"/>
                </a:solidFill>
                <a:latin typeface="Arial" panose="020B0604020202020204" pitchFamily="34" charset="0"/>
                <a:ea typeface="+mn-ea"/>
                <a:cs typeface="Arial" panose="020B0604020202020204" pitchFamily="34" charset="0"/>
              </a:rPr>
              <a:t>BEAD program will provide ~$42.45B for infrastructure planning and implementation</a:t>
            </a:r>
          </a:p>
        </p:txBody>
      </p:sp>
      <p:sp>
        <p:nvSpPr>
          <p:cNvPr id="52" name="Rectangle 51">
            <a:extLst>
              <a:ext uri="{FF2B5EF4-FFF2-40B4-BE49-F238E27FC236}">
                <a16:creationId xmlns:a16="http://schemas.microsoft.com/office/drawing/2014/main" id="{F822A6A4-FF65-4442-9FA0-DEB9331A09D3}"/>
              </a:ext>
            </a:extLst>
          </p:cNvPr>
          <p:cNvSpPr/>
          <p:nvPr/>
        </p:nvSpPr>
        <p:spPr>
          <a:xfrm>
            <a:off x="531134" y="1420383"/>
            <a:ext cx="3115712" cy="75477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buSzPct val="100000"/>
            </a:pPr>
            <a:r>
              <a:rPr lang="en-US" sz="2000" b="1" dirty="0">
                <a:solidFill>
                  <a:srgbClr val="FFFFFF"/>
                </a:solidFill>
                <a:latin typeface="Arial" panose="020B0604020202020204" pitchFamily="34" charset="0"/>
                <a:cs typeface="Arial" panose="020B0604020202020204" pitchFamily="34" charset="0"/>
              </a:rPr>
              <a:t>Funding pool</a:t>
            </a:r>
          </a:p>
          <a:p>
            <a:pPr algn="ctr">
              <a:spcBef>
                <a:spcPts val="200"/>
              </a:spcBef>
              <a:buSzPct val="100000"/>
            </a:pPr>
            <a:r>
              <a:rPr lang="en-US" sz="2000" dirty="0">
                <a:solidFill>
                  <a:srgbClr val="FFFFFF"/>
                </a:solidFill>
                <a:latin typeface="Arial" panose="020B0604020202020204" pitchFamily="34" charset="0"/>
                <a:cs typeface="Arial" panose="020B0604020202020204" pitchFamily="34" charset="0"/>
              </a:rPr>
              <a:t>$42.45B</a:t>
            </a:r>
          </a:p>
        </p:txBody>
      </p:sp>
      <p:sp>
        <p:nvSpPr>
          <p:cNvPr id="53" name="Rectangle 52">
            <a:extLst>
              <a:ext uri="{FF2B5EF4-FFF2-40B4-BE49-F238E27FC236}">
                <a16:creationId xmlns:a16="http://schemas.microsoft.com/office/drawing/2014/main" id="{5B402B49-C8C6-4026-8A5A-4ED1A0F58484}"/>
              </a:ext>
            </a:extLst>
          </p:cNvPr>
          <p:cNvSpPr/>
          <p:nvPr/>
        </p:nvSpPr>
        <p:spPr>
          <a:xfrm>
            <a:off x="3831972" y="1420382"/>
            <a:ext cx="7973430" cy="2751628"/>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buSzPct val="100000"/>
            </a:pPr>
            <a:endParaRPr lang="en-US" sz="600" b="1" dirty="0">
              <a:solidFill>
                <a:srgbClr val="164484"/>
              </a:solidFill>
              <a:latin typeface="Arial" panose="020B0604020202020204" pitchFamily="34" charset="0"/>
              <a:cs typeface="Arial" panose="020B0604020202020204" pitchFamily="34" charset="0"/>
            </a:endParaRPr>
          </a:p>
          <a:p>
            <a:pPr>
              <a:buSzPct val="100000"/>
            </a:pPr>
            <a:r>
              <a:rPr lang="en-US" sz="1600" b="1" dirty="0">
                <a:solidFill>
                  <a:srgbClr val="164484"/>
                </a:solidFill>
                <a:latin typeface="Arial" panose="020B0604020202020204" pitchFamily="34" charset="0"/>
                <a:cs typeface="Arial" panose="020B0604020202020204" pitchFamily="34" charset="0"/>
              </a:rPr>
              <a:t>Entities eligible to apply for this program include:</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All 50 States</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The District of Columbia and Puerto Rico</a:t>
            </a:r>
          </a:p>
          <a:p>
            <a:pPr marL="259200" lvl="1" indent="-172800">
              <a:buClr>
                <a:srgbClr val="0A3161"/>
              </a:buClr>
              <a:buSzPct val="100000"/>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Other Territories: U.S. Virgin Islands, Guam, American Samoa, and the Commonwealth of the Northern Mariana Islands</a:t>
            </a:r>
          </a:p>
          <a:p>
            <a:pPr marL="259200" lvl="1" indent="-172800">
              <a:buClr>
                <a:srgbClr val="0A3161"/>
              </a:buClr>
              <a:buSzPct val="100000"/>
              <a:buFont typeface="Trebuchet MS" panose="020B0603020202020204" pitchFamily="34" charset="0"/>
              <a:buChar char="•"/>
            </a:pPr>
            <a:endParaRPr lang="en-US" sz="600" dirty="0">
              <a:solidFill>
                <a:srgbClr val="000000"/>
              </a:solidFill>
              <a:latin typeface="Arial" panose="020B0604020202020204" pitchFamily="34" charset="0"/>
              <a:cs typeface="Arial" panose="020B0604020202020204" pitchFamily="34" charset="0"/>
            </a:endParaRPr>
          </a:p>
          <a:p>
            <a:pPr marL="0" lvl="1">
              <a:buClr>
                <a:srgbClr val="575454"/>
              </a:buClr>
              <a:buSzPct val="100000"/>
            </a:pPr>
            <a:r>
              <a:rPr lang="en-US" sz="1600" b="1" dirty="0">
                <a:solidFill>
                  <a:srgbClr val="164484"/>
                </a:solidFill>
                <a:latin typeface="Arial" panose="020B0604020202020204" pitchFamily="34" charset="0"/>
                <a:cs typeface="Arial" panose="020B0604020202020204" pitchFamily="34" charset="0"/>
              </a:rPr>
              <a:t>Example eligible uses of funds include:</a:t>
            </a:r>
            <a:endParaRPr lang="en-US" sz="1600" dirty="0">
              <a:solidFill>
                <a:srgbClr val="164484"/>
              </a:solidFill>
              <a:latin typeface="Arial" panose="020B0604020202020204" pitchFamily="34" charset="0"/>
              <a:cs typeface="Arial" panose="020B0604020202020204" pitchFamily="34" charset="0"/>
            </a:endParaRPr>
          </a:p>
          <a:p>
            <a:pPr marL="259200" lvl="1" indent="-172800">
              <a:buClr>
                <a:srgbClr val="0A3161"/>
              </a:buClr>
              <a:buSzPct val="100000"/>
              <a:buFont typeface="Trebuchet MS" panose="020B0603020202020204" pitchFamily="34" charset="0"/>
              <a:buChar char="•"/>
            </a:pPr>
            <a:endParaRPr lang="en-US" sz="1600" dirty="0">
              <a:solidFill>
                <a:srgbClr val="164484"/>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81934F3F-F283-4E7B-8558-A9D6B4874B7E}"/>
              </a:ext>
            </a:extLst>
          </p:cNvPr>
          <p:cNvSpPr/>
          <p:nvPr/>
        </p:nvSpPr>
        <p:spPr>
          <a:xfrm>
            <a:off x="531134" y="2356128"/>
            <a:ext cx="3115712" cy="1815882"/>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buClr>
                <a:schemeClr val="bg1"/>
              </a:buClr>
              <a:buSzPct val="100000"/>
            </a:pPr>
            <a:r>
              <a:rPr lang="en-US" sz="1600" dirty="0"/>
              <a:t>A program to get all Americans online by funding partnerships between states or territories, communities, and stakeholders to build infrastructure where we need it to and increase adoption of high-speed internet.</a:t>
            </a:r>
          </a:p>
        </p:txBody>
      </p:sp>
      <p:sp>
        <p:nvSpPr>
          <p:cNvPr id="55" name="TextBox 54">
            <a:extLst>
              <a:ext uri="{FF2B5EF4-FFF2-40B4-BE49-F238E27FC236}">
                <a16:creationId xmlns:a16="http://schemas.microsoft.com/office/drawing/2014/main" id="{4EB8EF00-BA4F-423D-9AC7-3D4DFD797C48}"/>
              </a:ext>
            </a:extLst>
          </p:cNvPr>
          <p:cNvSpPr txBox="1"/>
          <p:nvPr/>
        </p:nvSpPr>
        <p:spPr>
          <a:xfrm>
            <a:off x="6118875" y="1258799"/>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PROGRAM HIGHLIGHTS</a:t>
            </a:r>
          </a:p>
        </p:txBody>
      </p:sp>
      <p:graphicFrame>
        <p:nvGraphicFramePr>
          <p:cNvPr id="56" name="Table 13">
            <a:extLst>
              <a:ext uri="{FF2B5EF4-FFF2-40B4-BE49-F238E27FC236}">
                <a16:creationId xmlns:a16="http://schemas.microsoft.com/office/drawing/2014/main" id="{20A1EE25-15C2-4532-9729-A24BBA424CAA}"/>
              </a:ext>
            </a:extLst>
          </p:cNvPr>
          <p:cNvGraphicFramePr>
            <a:graphicFrameLocks noGrp="1"/>
          </p:cNvGraphicFramePr>
          <p:nvPr>
            <p:extLst>
              <p:ext uri="{D42A27DB-BD31-4B8C-83A1-F6EECF244321}">
                <p14:modId xmlns:p14="http://schemas.microsoft.com/office/powerpoint/2010/main" val="4244810890"/>
              </p:ext>
            </p:extLst>
          </p:nvPr>
        </p:nvGraphicFramePr>
        <p:xfrm>
          <a:off x="3831972" y="3092677"/>
          <a:ext cx="7973430" cy="1066800"/>
        </p:xfrm>
        <a:graphic>
          <a:graphicData uri="http://schemas.openxmlformats.org/drawingml/2006/table">
            <a:tbl>
              <a:tblPr firstRow="1" bandRow="1">
                <a:tableStyleId>{2D5ABB26-0587-4C30-8999-92F81FD0307C}</a:tableStyleId>
              </a:tblPr>
              <a:tblGrid>
                <a:gridCol w="1594686">
                  <a:extLst>
                    <a:ext uri="{9D8B030D-6E8A-4147-A177-3AD203B41FA5}">
                      <a16:colId xmlns:a16="http://schemas.microsoft.com/office/drawing/2014/main" val="2049931648"/>
                    </a:ext>
                  </a:extLst>
                </a:gridCol>
                <a:gridCol w="1594686">
                  <a:extLst>
                    <a:ext uri="{9D8B030D-6E8A-4147-A177-3AD203B41FA5}">
                      <a16:colId xmlns:a16="http://schemas.microsoft.com/office/drawing/2014/main" val="1043574612"/>
                    </a:ext>
                  </a:extLst>
                </a:gridCol>
                <a:gridCol w="1594686">
                  <a:extLst>
                    <a:ext uri="{9D8B030D-6E8A-4147-A177-3AD203B41FA5}">
                      <a16:colId xmlns:a16="http://schemas.microsoft.com/office/drawing/2014/main" val="1981860895"/>
                    </a:ext>
                  </a:extLst>
                </a:gridCol>
                <a:gridCol w="1594686">
                  <a:extLst>
                    <a:ext uri="{9D8B030D-6E8A-4147-A177-3AD203B41FA5}">
                      <a16:colId xmlns:a16="http://schemas.microsoft.com/office/drawing/2014/main" val="903301994"/>
                    </a:ext>
                  </a:extLst>
                </a:gridCol>
                <a:gridCol w="1594686">
                  <a:extLst>
                    <a:ext uri="{9D8B030D-6E8A-4147-A177-3AD203B41FA5}">
                      <a16:colId xmlns:a16="http://schemas.microsoft.com/office/drawing/2014/main" val="2058810132"/>
                    </a:ext>
                  </a:extLst>
                </a:gridCol>
              </a:tblGrid>
              <a:tr h="733303">
                <a:tc>
                  <a:txBody>
                    <a:bodyPr/>
                    <a:lstStyle/>
                    <a:p>
                      <a:r>
                        <a:rPr lang="en-US" sz="1600" dirty="0">
                          <a:solidFill>
                            <a:srgbClr val="000000"/>
                          </a:solidFill>
                        </a:rPr>
                        <a:t>Planning for deployment of Internet</a:t>
                      </a:r>
                    </a:p>
                  </a:txBody>
                  <a:tcPr marL="274320"/>
                </a:tc>
                <a:tc>
                  <a:txBody>
                    <a:bodyPr/>
                    <a:lstStyle/>
                    <a:p>
                      <a:r>
                        <a:rPr lang="en-US" sz="1600" dirty="0">
                          <a:solidFill>
                            <a:srgbClr val="000000"/>
                          </a:solidFill>
                        </a:rPr>
                        <a:t>Deploying or upgrading  Internet </a:t>
                      </a:r>
                    </a:p>
                  </a:txBody>
                  <a:tcPr marL="274320"/>
                </a:tc>
                <a:tc>
                  <a:txBody>
                    <a:bodyPr/>
                    <a:lstStyle/>
                    <a:p>
                      <a:r>
                        <a:rPr lang="en-US" sz="1600" dirty="0">
                          <a:solidFill>
                            <a:srgbClr val="000000"/>
                          </a:solidFill>
                        </a:rPr>
                        <a:t>Installing Internet in multi-tenant buildings</a:t>
                      </a:r>
                    </a:p>
                  </a:txBody>
                  <a:tcPr marL="274320"/>
                </a:tc>
                <a:tc>
                  <a:txBody>
                    <a:bodyPr/>
                    <a:lstStyle/>
                    <a:p>
                      <a:r>
                        <a:rPr lang="en-US" sz="1600" dirty="0">
                          <a:solidFill>
                            <a:srgbClr val="000000"/>
                          </a:solidFill>
                        </a:rPr>
                        <a:t>Implementing adoption and digital equity programs</a:t>
                      </a:r>
                    </a:p>
                  </a:txBody>
                  <a:tcPr marL="274320"/>
                </a:tc>
                <a:tc>
                  <a:txBody>
                    <a:bodyPr/>
                    <a:lstStyle/>
                    <a:p>
                      <a:r>
                        <a:rPr lang="en-US" sz="1600" dirty="0">
                          <a:solidFill>
                            <a:srgbClr val="000000"/>
                          </a:solidFill>
                        </a:rPr>
                        <a:t>Workforce and job training</a:t>
                      </a:r>
                    </a:p>
                  </a:txBody>
                  <a:tcPr marL="274320"/>
                </a:tc>
                <a:extLst>
                  <a:ext uri="{0D108BD9-81ED-4DB2-BD59-A6C34878D82A}">
                    <a16:rowId xmlns:a16="http://schemas.microsoft.com/office/drawing/2014/main" val="2740803269"/>
                  </a:ext>
                </a:extLst>
              </a:tr>
            </a:tbl>
          </a:graphicData>
        </a:graphic>
      </p:graphicFrame>
      <p:grpSp>
        <p:nvGrpSpPr>
          <p:cNvPr id="57" name="Group 56">
            <a:extLst>
              <a:ext uri="{FF2B5EF4-FFF2-40B4-BE49-F238E27FC236}">
                <a16:creationId xmlns:a16="http://schemas.microsoft.com/office/drawing/2014/main" id="{1B5DC49D-CE91-4A7E-BC2E-F49B6D5D7450}"/>
              </a:ext>
            </a:extLst>
          </p:cNvPr>
          <p:cNvGrpSpPr/>
          <p:nvPr/>
        </p:nvGrpSpPr>
        <p:grpSpPr>
          <a:xfrm>
            <a:off x="3900980" y="3161685"/>
            <a:ext cx="164393" cy="160470"/>
            <a:chOff x="4329243" y="5690404"/>
            <a:chExt cx="306910" cy="306911"/>
          </a:xfrm>
        </p:grpSpPr>
        <p:sp>
          <p:nvSpPr>
            <p:cNvPr id="60" name="Oval 14">
              <a:extLst>
                <a:ext uri="{FF2B5EF4-FFF2-40B4-BE49-F238E27FC236}">
                  <a16:creationId xmlns:a16="http://schemas.microsoft.com/office/drawing/2014/main" id="{BEED788C-5312-4F6F-8BB3-5093EF7FD896}"/>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1" name="Freeform 15">
              <a:extLst>
                <a:ext uri="{FF2B5EF4-FFF2-40B4-BE49-F238E27FC236}">
                  <a16:creationId xmlns:a16="http://schemas.microsoft.com/office/drawing/2014/main" id="{660C75DA-5306-4557-AF55-3905A21C9C53}"/>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5" name="Group 74">
            <a:extLst>
              <a:ext uri="{FF2B5EF4-FFF2-40B4-BE49-F238E27FC236}">
                <a16:creationId xmlns:a16="http://schemas.microsoft.com/office/drawing/2014/main" id="{8916CD3B-445E-49A7-A3B1-B91C96289993}"/>
              </a:ext>
            </a:extLst>
          </p:cNvPr>
          <p:cNvGrpSpPr/>
          <p:nvPr/>
        </p:nvGrpSpPr>
        <p:grpSpPr>
          <a:xfrm>
            <a:off x="5495666" y="3161685"/>
            <a:ext cx="164393" cy="160470"/>
            <a:chOff x="4329243" y="5690404"/>
            <a:chExt cx="306910" cy="306911"/>
          </a:xfrm>
        </p:grpSpPr>
        <p:sp>
          <p:nvSpPr>
            <p:cNvPr id="77" name="Oval 14">
              <a:extLst>
                <a:ext uri="{FF2B5EF4-FFF2-40B4-BE49-F238E27FC236}">
                  <a16:creationId xmlns:a16="http://schemas.microsoft.com/office/drawing/2014/main" id="{0C5F3A35-ECBC-41E9-BF0D-7432540E715A}"/>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8" name="Freeform 15">
              <a:extLst>
                <a:ext uri="{FF2B5EF4-FFF2-40B4-BE49-F238E27FC236}">
                  <a16:creationId xmlns:a16="http://schemas.microsoft.com/office/drawing/2014/main" id="{AE20A63A-9989-4550-B116-A9653C94D2FA}"/>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0" name="Group 79">
            <a:extLst>
              <a:ext uri="{FF2B5EF4-FFF2-40B4-BE49-F238E27FC236}">
                <a16:creationId xmlns:a16="http://schemas.microsoft.com/office/drawing/2014/main" id="{36E9B15A-E323-428A-A913-F81769C5DBB9}"/>
              </a:ext>
            </a:extLst>
          </p:cNvPr>
          <p:cNvGrpSpPr/>
          <p:nvPr/>
        </p:nvGrpSpPr>
        <p:grpSpPr>
          <a:xfrm>
            <a:off x="7090352" y="3161685"/>
            <a:ext cx="164393" cy="160470"/>
            <a:chOff x="4329243" y="5690404"/>
            <a:chExt cx="306910" cy="306911"/>
          </a:xfrm>
        </p:grpSpPr>
        <p:sp>
          <p:nvSpPr>
            <p:cNvPr id="82" name="Oval 14">
              <a:extLst>
                <a:ext uri="{FF2B5EF4-FFF2-40B4-BE49-F238E27FC236}">
                  <a16:creationId xmlns:a16="http://schemas.microsoft.com/office/drawing/2014/main" id="{FAE980F8-2C62-44C4-B5FC-76B66A10D846}"/>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15">
              <a:extLst>
                <a:ext uri="{FF2B5EF4-FFF2-40B4-BE49-F238E27FC236}">
                  <a16:creationId xmlns:a16="http://schemas.microsoft.com/office/drawing/2014/main" id="{2E3EDF5E-41FD-4047-BD83-A9C34EF0EAF4}"/>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5" name="Group 84">
            <a:extLst>
              <a:ext uri="{FF2B5EF4-FFF2-40B4-BE49-F238E27FC236}">
                <a16:creationId xmlns:a16="http://schemas.microsoft.com/office/drawing/2014/main" id="{466446E3-BB73-4E17-9A96-5571FE6BF5E0}"/>
              </a:ext>
            </a:extLst>
          </p:cNvPr>
          <p:cNvGrpSpPr/>
          <p:nvPr/>
        </p:nvGrpSpPr>
        <p:grpSpPr>
          <a:xfrm>
            <a:off x="8685038" y="3161685"/>
            <a:ext cx="164393" cy="160470"/>
            <a:chOff x="4329243" y="5690404"/>
            <a:chExt cx="306910" cy="306911"/>
          </a:xfrm>
        </p:grpSpPr>
        <p:sp>
          <p:nvSpPr>
            <p:cNvPr id="86" name="Oval 14">
              <a:extLst>
                <a:ext uri="{FF2B5EF4-FFF2-40B4-BE49-F238E27FC236}">
                  <a16:creationId xmlns:a16="http://schemas.microsoft.com/office/drawing/2014/main" id="{1F073457-85ED-47B3-AEF0-FEBB6AC88F6C}"/>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8" name="Freeform 15">
              <a:extLst>
                <a:ext uri="{FF2B5EF4-FFF2-40B4-BE49-F238E27FC236}">
                  <a16:creationId xmlns:a16="http://schemas.microsoft.com/office/drawing/2014/main" id="{313E3E3A-2F06-4211-9FC6-79C20A4837F8}"/>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9" name="Group 88">
            <a:extLst>
              <a:ext uri="{FF2B5EF4-FFF2-40B4-BE49-F238E27FC236}">
                <a16:creationId xmlns:a16="http://schemas.microsoft.com/office/drawing/2014/main" id="{DEA7CCEA-FDA5-4F41-8F6E-6C908218501C}"/>
              </a:ext>
            </a:extLst>
          </p:cNvPr>
          <p:cNvGrpSpPr/>
          <p:nvPr/>
        </p:nvGrpSpPr>
        <p:grpSpPr>
          <a:xfrm>
            <a:off x="10279724" y="3161685"/>
            <a:ext cx="164393" cy="160470"/>
            <a:chOff x="4329243" y="5690404"/>
            <a:chExt cx="306910" cy="306911"/>
          </a:xfrm>
        </p:grpSpPr>
        <p:sp>
          <p:nvSpPr>
            <p:cNvPr id="100" name="Oval 14">
              <a:extLst>
                <a:ext uri="{FF2B5EF4-FFF2-40B4-BE49-F238E27FC236}">
                  <a16:creationId xmlns:a16="http://schemas.microsoft.com/office/drawing/2014/main" id="{565BB34E-335D-4ECE-BEA2-640443240A81}"/>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4" name="Freeform 15">
              <a:extLst>
                <a:ext uri="{FF2B5EF4-FFF2-40B4-BE49-F238E27FC236}">
                  <a16:creationId xmlns:a16="http://schemas.microsoft.com/office/drawing/2014/main" id="{394F0982-6819-423C-90B0-08A13DE29E30}"/>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112" name="ee4pContent1">
            <a:extLst>
              <a:ext uri="{FF2B5EF4-FFF2-40B4-BE49-F238E27FC236}">
                <a16:creationId xmlns:a16="http://schemas.microsoft.com/office/drawing/2014/main" id="{86D3DABA-FD4E-442D-8E96-5497D3DDA36D}"/>
              </a:ext>
            </a:extLst>
          </p:cNvPr>
          <p:cNvSpPr txBox="1"/>
          <p:nvPr/>
        </p:nvSpPr>
        <p:spPr>
          <a:xfrm>
            <a:off x="531134" y="4355938"/>
            <a:ext cx="11274268" cy="1690218"/>
          </a:xfrm>
          <a:prstGeom prst="rect">
            <a:avLst/>
          </a:prstGeom>
          <a:noFill/>
          <a:ln w="38100" cap="rnd" cmpd="sng" algn="ctr">
            <a:solidFill>
              <a:srgbClr val="164484"/>
            </a:solidFill>
            <a:prstDash val="solid"/>
            <a:round/>
            <a:headEnd type="none" w="med" len="med"/>
            <a:tailEnd type="none" w="med" len="med"/>
          </a:ln>
        </p:spPr>
        <p:txBody>
          <a:bodyPr vert="horz" lIns="91440" tIns="1234440" rIns="9144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p>
        </p:txBody>
      </p:sp>
      <p:sp>
        <p:nvSpPr>
          <p:cNvPr id="113" name="TextBox 112">
            <a:extLst>
              <a:ext uri="{FF2B5EF4-FFF2-40B4-BE49-F238E27FC236}">
                <a16:creationId xmlns:a16="http://schemas.microsoft.com/office/drawing/2014/main" id="{79BCDD20-05DF-48DD-B92B-41AA6F25C15C}"/>
              </a:ext>
            </a:extLst>
          </p:cNvPr>
          <p:cNvSpPr txBox="1"/>
          <p:nvPr/>
        </p:nvSpPr>
        <p:spPr>
          <a:xfrm>
            <a:off x="4468456" y="4212067"/>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ESTIMATED TIMELINE</a:t>
            </a:r>
          </a:p>
        </p:txBody>
      </p:sp>
      <p:sp>
        <p:nvSpPr>
          <p:cNvPr id="114" name="TextBox 113">
            <a:extLst>
              <a:ext uri="{FF2B5EF4-FFF2-40B4-BE49-F238E27FC236}">
                <a16:creationId xmlns:a16="http://schemas.microsoft.com/office/drawing/2014/main" id="{9AF49C92-9329-46AA-8E86-01731D1BF632}"/>
              </a:ext>
            </a:extLst>
          </p:cNvPr>
          <p:cNvSpPr txBox="1"/>
          <p:nvPr/>
        </p:nvSpPr>
        <p:spPr>
          <a:xfrm>
            <a:off x="8248651" y="4269611"/>
            <a:ext cx="3541342" cy="192689"/>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582930"/>
            <a:r>
              <a:rPr lang="en-US" sz="1200" kern="0" dirty="0">
                <a:solidFill>
                  <a:srgbClr val="FFFFFF"/>
                </a:solidFill>
                <a:latin typeface="+mj-lt"/>
              </a:rPr>
              <a:t>Timeline approximate unless exact date specified</a:t>
            </a:r>
          </a:p>
        </p:txBody>
      </p:sp>
      <p:sp>
        <p:nvSpPr>
          <p:cNvPr id="115" name="TextBox 114">
            <a:extLst>
              <a:ext uri="{FF2B5EF4-FFF2-40B4-BE49-F238E27FC236}">
                <a16:creationId xmlns:a16="http://schemas.microsoft.com/office/drawing/2014/main" id="{52F98516-BF67-4C25-AD05-B6E6F1E0900F}"/>
              </a:ext>
            </a:extLst>
          </p:cNvPr>
          <p:cNvSpPr txBox="1"/>
          <p:nvPr/>
        </p:nvSpPr>
        <p:spPr>
          <a:xfrm>
            <a:off x="2249787" y="4726354"/>
            <a:ext cx="39310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spcAft>
                <a:spcPts val="1000"/>
              </a:spcAft>
            </a:pPr>
            <a:r>
              <a:rPr lang="en-US" sz="1200" dirty="0">
                <a:solidFill>
                  <a:srgbClr val="000000"/>
                </a:solidFill>
                <a:latin typeface="+mj-lt"/>
                <a:cs typeface="Arial" panose="020B0604020202020204" pitchFamily="34" charset="0"/>
              </a:rPr>
              <a:t>Due 7/18</a:t>
            </a:r>
          </a:p>
        </p:txBody>
      </p:sp>
      <p:sp>
        <p:nvSpPr>
          <p:cNvPr id="116" name="TextBox 115">
            <a:extLst>
              <a:ext uri="{FF2B5EF4-FFF2-40B4-BE49-F238E27FC236}">
                <a16:creationId xmlns:a16="http://schemas.microsoft.com/office/drawing/2014/main" id="{3CF9B8F3-56BE-4F9C-B147-3ACEE22AA598}"/>
              </a:ext>
            </a:extLst>
          </p:cNvPr>
          <p:cNvSpPr txBox="1"/>
          <p:nvPr/>
        </p:nvSpPr>
        <p:spPr>
          <a:xfrm>
            <a:off x="2798917" y="4575981"/>
            <a:ext cx="192352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r"/>
            <a:r>
              <a:rPr lang="en-US" sz="1200" dirty="0">
                <a:solidFill>
                  <a:srgbClr val="000000"/>
                </a:solidFill>
                <a:latin typeface="+mj-lt"/>
                <a:cs typeface="Arial" panose="020B0604020202020204" pitchFamily="34" charset="0"/>
              </a:rPr>
              <a:t>Due 270 days after planning funds received</a:t>
            </a:r>
          </a:p>
          <a:p>
            <a:pPr algn="r"/>
            <a:endParaRPr lang="en-US" sz="1200" dirty="0">
              <a:solidFill>
                <a:srgbClr val="000000"/>
              </a:solidFill>
              <a:latin typeface="+mj-lt"/>
              <a:cs typeface="Arial" panose="020B0604020202020204" pitchFamily="34" charset="0"/>
            </a:endParaRPr>
          </a:p>
        </p:txBody>
      </p:sp>
      <p:sp>
        <p:nvSpPr>
          <p:cNvPr id="117" name="TextBox 116">
            <a:extLst>
              <a:ext uri="{FF2B5EF4-FFF2-40B4-BE49-F238E27FC236}">
                <a16:creationId xmlns:a16="http://schemas.microsoft.com/office/drawing/2014/main" id="{B7792C63-E22A-4E92-A51B-15FB076ECBCE}"/>
              </a:ext>
            </a:extLst>
          </p:cNvPr>
          <p:cNvSpPr txBox="1"/>
          <p:nvPr/>
        </p:nvSpPr>
        <p:spPr>
          <a:xfrm>
            <a:off x="4962975" y="4575981"/>
            <a:ext cx="269987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r>
              <a:rPr lang="en-US" sz="1200" dirty="0">
                <a:solidFill>
                  <a:srgbClr val="000000"/>
                </a:solidFill>
                <a:latin typeface="+mj-lt"/>
                <a:cs typeface="Arial" panose="020B0604020202020204" pitchFamily="34" charset="0"/>
              </a:rPr>
              <a:t>Due 180 days after new DATA maps and notice of fundings amounts issued</a:t>
            </a:r>
          </a:p>
          <a:p>
            <a:endParaRPr lang="en-US" sz="1200" dirty="0">
              <a:solidFill>
                <a:srgbClr val="000000"/>
              </a:solidFill>
              <a:latin typeface="+mj-lt"/>
              <a:cs typeface="Arial" panose="020B0604020202020204" pitchFamily="34" charset="0"/>
            </a:endParaRPr>
          </a:p>
        </p:txBody>
      </p:sp>
      <p:sp>
        <p:nvSpPr>
          <p:cNvPr id="118" name="TextBox 117">
            <a:extLst>
              <a:ext uri="{FF2B5EF4-FFF2-40B4-BE49-F238E27FC236}">
                <a16:creationId xmlns:a16="http://schemas.microsoft.com/office/drawing/2014/main" id="{72585F74-96F1-4A46-A7D7-7CDB2BBE6804}"/>
              </a:ext>
            </a:extLst>
          </p:cNvPr>
          <p:cNvSpPr txBox="1"/>
          <p:nvPr/>
        </p:nvSpPr>
        <p:spPr>
          <a:xfrm>
            <a:off x="8187109" y="4575981"/>
            <a:ext cx="161411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r>
              <a:rPr lang="en-US" sz="1200" dirty="0">
                <a:solidFill>
                  <a:srgbClr val="000000"/>
                </a:solidFill>
                <a:latin typeface="+mj-lt"/>
                <a:cs typeface="Arial" panose="020B0604020202020204" pitchFamily="34" charset="0"/>
              </a:rPr>
              <a:t>Due 365 days after initial proposal approval</a:t>
            </a:r>
          </a:p>
          <a:p>
            <a:endParaRPr lang="en-US" sz="1200" dirty="0">
              <a:solidFill>
                <a:srgbClr val="000000"/>
              </a:solidFill>
              <a:latin typeface="+mj-lt"/>
              <a:cs typeface="Arial" panose="020B0604020202020204" pitchFamily="34" charset="0"/>
            </a:endParaRPr>
          </a:p>
        </p:txBody>
      </p:sp>
      <p:sp>
        <p:nvSpPr>
          <p:cNvPr id="119" name="TextBox 118">
            <a:extLst>
              <a:ext uri="{FF2B5EF4-FFF2-40B4-BE49-F238E27FC236}">
                <a16:creationId xmlns:a16="http://schemas.microsoft.com/office/drawing/2014/main" id="{03437F87-8E4D-4162-BCE1-64FDFC5D765F}"/>
              </a:ext>
            </a:extLst>
          </p:cNvPr>
          <p:cNvSpPr txBox="1"/>
          <p:nvPr/>
        </p:nvSpPr>
        <p:spPr>
          <a:xfrm>
            <a:off x="1300042" y="4726354"/>
            <a:ext cx="63518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spcAft>
                <a:spcPts val="1000"/>
              </a:spcAft>
            </a:pPr>
            <a:r>
              <a:rPr lang="en-US" sz="1200" dirty="0" err="1">
                <a:solidFill>
                  <a:srgbClr val="000000"/>
                </a:solidFill>
                <a:latin typeface="+mj-lt"/>
                <a:cs typeface="Arial" panose="020B0604020202020204" pitchFamily="34" charset="0"/>
              </a:rPr>
              <a:t>NOFO</a:t>
            </a:r>
            <a:r>
              <a:rPr lang="en-US" sz="1200" dirty="0">
                <a:solidFill>
                  <a:srgbClr val="000000"/>
                </a:solidFill>
                <a:latin typeface="+mj-lt"/>
                <a:cs typeface="Arial" panose="020B0604020202020204" pitchFamily="34" charset="0"/>
              </a:rPr>
              <a:t> live 5/13</a:t>
            </a:r>
          </a:p>
        </p:txBody>
      </p:sp>
      <p:cxnSp>
        <p:nvCxnSpPr>
          <p:cNvPr id="120" name="Straight Arrow Connector 119">
            <a:extLst>
              <a:ext uri="{FF2B5EF4-FFF2-40B4-BE49-F238E27FC236}">
                <a16:creationId xmlns:a16="http://schemas.microsoft.com/office/drawing/2014/main" id="{D12C9B94-7BF1-43AE-9472-5A72A653EFE3}"/>
              </a:ext>
            </a:extLst>
          </p:cNvPr>
          <p:cNvCxnSpPr>
            <a:cxnSpLocks/>
          </p:cNvCxnSpPr>
          <p:nvPr/>
        </p:nvCxnSpPr>
        <p:spPr>
          <a:xfrm>
            <a:off x="831666" y="5202206"/>
            <a:ext cx="10769992"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49A43848-45B6-4CE7-8CE1-8989BEF9D1CF}"/>
              </a:ext>
            </a:extLst>
          </p:cNvPr>
          <p:cNvSpPr/>
          <p:nvPr/>
        </p:nvSpPr>
        <p:spPr>
          <a:xfrm>
            <a:off x="718107"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22" name="Oval 121">
            <a:extLst>
              <a:ext uri="{FF2B5EF4-FFF2-40B4-BE49-F238E27FC236}">
                <a16:creationId xmlns:a16="http://schemas.microsoft.com/office/drawing/2014/main" id="{77BEE43B-A8B4-4F1E-9016-F2B0F565B779}"/>
              </a:ext>
            </a:extLst>
          </p:cNvPr>
          <p:cNvSpPr/>
          <p:nvPr/>
        </p:nvSpPr>
        <p:spPr>
          <a:xfrm>
            <a:off x="3288362"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23" name="Oval 122">
            <a:extLst>
              <a:ext uri="{FF2B5EF4-FFF2-40B4-BE49-F238E27FC236}">
                <a16:creationId xmlns:a16="http://schemas.microsoft.com/office/drawing/2014/main" id="{7B16E0D2-F646-4F3D-9443-BCDF09F0827F}"/>
              </a:ext>
            </a:extLst>
          </p:cNvPr>
          <p:cNvSpPr/>
          <p:nvPr/>
        </p:nvSpPr>
        <p:spPr>
          <a:xfrm>
            <a:off x="10999127"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24" name="Oval 123">
            <a:extLst>
              <a:ext uri="{FF2B5EF4-FFF2-40B4-BE49-F238E27FC236}">
                <a16:creationId xmlns:a16="http://schemas.microsoft.com/office/drawing/2014/main" id="{4A2733C6-D32A-4F50-A1CA-621BC72D7F36}"/>
              </a:ext>
            </a:extLst>
          </p:cNvPr>
          <p:cNvSpPr/>
          <p:nvPr/>
        </p:nvSpPr>
        <p:spPr>
          <a:xfrm>
            <a:off x="5858617"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25" name="TextBox 124">
            <a:extLst>
              <a:ext uri="{FF2B5EF4-FFF2-40B4-BE49-F238E27FC236}">
                <a16:creationId xmlns:a16="http://schemas.microsoft.com/office/drawing/2014/main" id="{1FD0D047-3A6C-4239-A8DC-1ACBE1F8F0C1}"/>
              </a:ext>
            </a:extLst>
          </p:cNvPr>
          <p:cNvSpPr txBox="1"/>
          <p:nvPr/>
        </p:nvSpPr>
        <p:spPr>
          <a:xfrm>
            <a:off x="335042"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2</a:t>
            </a:r>
          </a:p>
        </p:txBody>
      </p:sp>
      <p:sp>
        <p:nvSpPr>
          <p:cNvPr id="126" name="TextBox 125">
            <a:extLst>
              <a:ext uri="{FF2B5EF4-FFF2-40B4-BE49-F238E27FC236}">
                <a16:creationId xmlns:a16="http://schemas.microsoft.com/office/drawing/2014/main" id="{F9C8CD17-5F13-4727-B3DB-85C9AFC554CF}"/>
              </a:ext>
            </a:extLst>
          </p:cNvPr>
          <p:cNvSpPr txBox="1"/>
          <p:nvPr/>
        </p:nvSpPr>
        <p:spPr>
          <a:xfrm>
            <a:off x="2905297"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3</a:t>
            </a:r>
          </a:p>
        </p:txBody>
      </p:sp>
      <p:sp>
        <p:nvSpPr>
          <p:cNvPr id="127" name="TextBox 126">
            <a:extLst>
              <a:ext uri="{FF2B5EF4-FFF2-40B4-BE49-F238E27FC236}">
                <a16:creationId xmlns:a16="http://schemas.microsoft.com/office/drawing/2014/main" id="{49745DC5-2571-4FAA-8A9B-B922495681EB}"/>
              </a:ext>
            </a:extLst>
          </p:cNvPr>
          <p:cNvSpPr txBox="1"/>
          <p:nvPr/>
        </p:nvSpPr>
        <p:spPr>
          <a:xfrm>
            <a:off x="5475552"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4</a:t>
            </a:r>
          </a:p>
        </p:txBody>
      </p:sp>
      <p:sp>
        <p:nvSpPr>
          <p:cNvPr id="128" name="TextBox 127">
            <a:extLst>
              <a:ext uri="{FF2B5EF4-FFF2-40B4-BE49-F238E27FC236}">
                <a16:creationId xmlns:a16="http://schemas.microsoft.com/office/drawing/2014/main" id="{DD5C03FF-8A98-4D4C-AF58-E24D9855F3DE}"/>
              </a:ext>
            </a:extLst>
          </p:cNvPr>
          <p:cNvSpPr txBox="1"/>
          <p:nvPr/>
        </p:nvSpPr>
        <p:spPr>
          <a:xfrm>
            <a:off x="8045807"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5</a:t>
            </a:r>
          </a:p>
        </p:txBody>
      </p:sp>
      <p:sp>
        <p:nvSpPr>
          <p:cNvPr id="129" name="TextBox 128">
            <a:extLst>
              <a:ext uri="{FF2B5EF4-FFF2-40B4-BE49-F238E27FC236}">
                <a16:creationId xmlns:a16="http://schemas.microsoft.com/office/drawing/2014/main" id="{D307FFAC-B107-48DB-9B45-D5066C89B7D2}"/>
              </a:ext>
            </a:extLst>
          </p:cNvPr>
          <p:cNvSpPr txBox="1"/>
          <p:nvPr/>
        </p:nvSpPr>
        <p:spPr>
          <a:xfrm>
            <a:off x="10616060" y="489993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6+</a:t>
            </a:r>
          </a:p>
        </p:txBody>
      </p:sp>
      <p:sp>
        <p:nvSpPr>
          <p:cNvPr id="130" name="Oval 129">
            <a:extLst>
              <a:ext uri="{FF2B5EF4-FFF2-40B4-BE49-F238E27FC236}">
                <a16:creationId xmlns:a16="http://schemas.microsoft.com/office/drawing/2014/main" id="{17C9C896-D1A9-4A2B-A93A-D03B85710696}"/>
              </a:ext>
            </a:extLst>
          </p:cNvPr>
          <p:cNvSpPr/>
          <p:nvPr/>
        </p:nvSpPr>
        <p:spPr>
          <a:xfrm>
            <a:off x="8428872" y="511318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cxnSp>
        <p:nvCxnSpPr>
          <p:cNvPr id="131" name="Straight Connector 130">
            <a:extLst>
              <a:ext uri="{FF2B5EF4-FFF2-40B4-BE49-F238E27FC236}">
                <a16:creationId xmlns:a16="http://schemas.microsoft.com/office/drawing/2014/main" id="{D51A9B64-2614-4D01-B7F2-DF9F0BA85A11}"/>
              </a:ext>
            </a:extLst>
          </p:cNvPr>
          <p:cNvCxnSpPr>
            <a:cxnSpLocks/>
          </p:cNvCxnSpPr>
          <p:nvPr/>
        </p:nvCxnSpPr>
        <p:spPr>
          <a:xfrm>
            <a:off x="2446340" y="5202206"/>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C646C36-B893-4BCA-BBA4-59D354E96146}"/>
              </a:ext>
            </a:extLst>
          </p:cNvPr>
          <p:cNvCxnSpPr>
            <a:cxnSpLocks/>
          </p:cNvCxnSpPr>
          <p:nvPr/>
        </p:nvCxnSpPr>
        <p:spPr>
          <a:xfrm>
            <a:off x="4680025" y="5202206"/>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6B5F9C7-D517-41AC-AFAD-8B07C4E78653}"/>
              </a:ext>
            </a:extLst>
          </p:cNvPr>
          <p:cNvCxnSpPr>
            <a:cxnSpLocks/>
          </p:cNvCxnSpPr>
          <p:nvPr/>
        </p:nvCxnSpPr>
        <p:spPr>
          <a:xfrm>
            <a:off x="5450792" y="5202206"/>
            <a:ext cx="0" cy="563381"/>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3703B883-ABD2-43DC-AE40-ECF1B102DF12}"/>
              </a:ext>
            </a:extLst>
          </p:cNvPr>
          <p:cNvCxnSpPr>
            <a:cxnSpLocks/>
          </p:cNvCxnSpPr>
          <p:nvPr/>
        </p:nvCxnSpPr>
        <p:spPr>
          <a:xfrm>
            <a:off x="1617633" y="5202206"/>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E24BE08C-20C3-4858-8A24-A861B4AE82F5}"/>
              </a:ext>
            </a:extLst>
          </p:cNvPr>
          <p:cNvCxnSpPr>
            <a:cxnSpLocks/>
          </p:cNvCxnSpPr>
          <p:nvPr/>
        </p:nvCxnSpPr>
        <p:spPr>
          <a:xfrm>
            <a:off x="8292604" y="5202206"/>
            <a:ext cx="0" cy="563381"/>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36" name="Arrow: Chevron 135">
            <a:extLst>
              <a:ext uri="{FF2B5EF4-FFF2-40B4-BE49-F238E27FC236}">
                <a16:creationId xmlns:a16="http://schemas.microsoft.com/office/drawing/2014/main" id="{5BBBC9B9-9DA7-4F08-AD45-9478FD035FFB}"/>
              </a:ext>
            </a:extLst>
          </p:cNvPr>
          <p:cNvSpPr/>
          <p:nvPr/>
        </p:nvSpPr>
        <p:spPr>
          <a:xfrm>
            <a:off x="2603383" y="5382452"/>
            <a:ext cx="2218037"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5-year plan</a:t>
            </a:r>
          </a:p>
        </p:txBody>
      </p:sp>
      <p:sp>
        <p:nvSpPr>
          <p:cNvPr id="137" name="Arrow: Chevron 136">
            <a:extLst>
              <a:ext uri="{FF2B5EF4-FFF2-40B4-BE49-F238E27FC236}">
                <a16:creationId xmlns:a16="http://schemas.microsoft.com/office/drawing/2014/main" id="{E78D5A93-9456-43CA-A8EE-99D9A895D041}"/>
              </a:ext>
            </a:extLst>
          </p:cNvPr>
          <p:cNvSpPr/>
          <p:nvPr/>
        </p:nvSpPr>
        <p:spPr>
          <a:xfrm>
            <a:off x="6818649" y="5672681"/>
            <a:ext cx="161022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Final proposal</a:t>
            </a:r>
          </a:p>
        </p:txBody>
      </p:sp>
      <p:sp>
        <p:nvSpPr>
          <p:cNvPr id="138" name="Arrow: Pentagon 137">
            <a:extLst>
              <a:ext uri="{FF2B5EF4-FFF2-40B4-BE49-F238E27FC236}">
                <a16:creationId xmlns:a16="http://schemas.microsoft.com/office/drawing/2014/main" id="{C5B50A4B-0BA9-48A9-8749-644446AD5E0C}"/>
              </a:ext>
            </a:extLst>
          </p:cNvPr>
          <p:cNvSpPr/>
          <p:nvPr/>
        </p:nvSpPr>
        <p:spPr>
          <a:xfrm>
            <a:off x="1598583" y="5382452"/>
            <a:ext cx="987202" cy="266200"/>
          </a:xfrm>
          <a:prstGeom prst="homePlate">
            <a:avLst/>
          </a:prstGeom>
          <a:solidFill>
            <a:srgbClr val="164484"/>
          </a:solidFill>
          <a:ln w="8096" cap="rnd" cmpd="sng" algn="ctr">
            <a:noFill/>
            <a:prstDash val="solid"/>
            <a:round/>
            <a:headEnd type="none" w="med" len="med"/>
            <a:tailEnd type="none" w="med" len="med"/>
          </a:ln>
          <a:effectLst/>
          <a:extLst>
            <a:ext uri="{91240B29-F687-4F45-9708-019B960494DF}">
              <a14:hiddenLine xmlns:a14="http://schemas.microsoft.com/office/drawing/2010/main" w="8096" cap="rnd"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050" kern="0" dirty="0">
                <a:solidFill>
                  <a:schemeClr val="bg1"/>
                </a:solidFill>
                <a:latin typeface="+mj-lt"/>
              </a:rPr>
              <a:t>Letter of Intent</a:t>
            </a:r>
          </a:p>
        </p:txBody>
      </p:sp>
      <p:sp>
        <p:nvSpPr>
          <p:cNvPr id="139" name="Arrow: Chevron 138">
            <a:extLst>
              <a:ext uri="{FF2B5EF4-FFF2-40B4-BE49-F238E27FC236}">
                <a16:creationId xmlns:a16="http://schemas.microsoft.com/office/drawing/2014/main" id="{6225F8DE-C5EC-414B-87CD-EABAE473B322}"/>
              </a:ext>
            </a:extLst>
          </p:cNvPr>
          <p:cNvSpPr/>
          <p:nvPr/>
        </p:nvSpPr>
        <p:spPr>
          <a:xfrm>
            <a:off x="5858616" y="5382452"/>
            <a:ext cx="5743041"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4-year implementation</a:t>
            </a:r>
          </a:p>
        </p:txBody>
      </p:sp>
      <p:sp>
        <p:nvSpPr>
          <p:cNvPr id="140" name="Arrow: Chevron 139">
            <a:extLst>
              <a:ext uri="{FF2B5EF4-FFF2-40B4-BE49-F238E27FC236}">
                <a16:creationId xmlns:a16="http://schemas.microsoft.com/office/drawing/2014/main" id="{1E2BCA20-6D75-42B9-BAF1-59C0955E9F3D}"/>
              </a:ext>
            </a:extLst>
          </p:cNvPr>
          <p:cNvSpPr/>
          <p:nvPr/>
        </p:nvSpPr>
        <p:spPr>
          <a:xfrm>
            <a:off x="3845231" y="5672681"/>
            <a:ext cx="173595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Initial proposal</a:t>
            </a:r>
          </a:p>
        </p:txBody>
      </p:sp>
    </p:spTree>
    <p:extLst>
      <p:ext uri="{BB962C8B-B14F-4D97-AF65-F5344CB8AC3E}">
        <p14:creationId xmlns:p14="http://schemas.microsoft.com/office/powerpoint/2010/main" val="561683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normAutofit fontScale="90000"/>
          </a:bodyPr>
          <a:lstStyle/>
          <a:p>
            <a:pPr defTabSz="1219170">
              <a:buSzPts val="3000"/>
              <a:defRPr/>
            </a:pPr>
            <a:r>
              <a:rPr lang="en-US" cap="none" dirty="0">
                <a:solidFill>
                  <a:srgbClr val="164484"/>
                </a:solidFill>
                <a:latin typeface="Arial" panose="020B0604020202020204" pitchFamily="34" charset="0"/>
                <a:ea typeface="+mn-ea"/>
                <a:cs typeface="Arial" panose="020B0604020202020204" pitchFamily="34" charset="0"/>
              </a:rPr>
              <a:t>Digital Equity Act created three programs to promote digital equity and inclusion</a:t>
            </a:r>
          </a:p>
        </p:txBody>
      </p:sp>
      <p:sp>
        <p:nvSpPr>
          <p:cNvPr id="3" name="Rectangle 2">
            <a:extLst>
              <a:ext uri="{FF2B5EF4-FFF2-40B4-BE49-F238E27FC236}">
                <a16:creationId xmlns:a16="http://schemas.microsoft.com/office/drawing/2014/main" id="{E578736E-8DF2-4F0A-B399-C6B2682F61CF}"/>
              </a:ext>
            </a:extLst>
          </p:cNvPr>
          <p:cNvSpPr/>
          <p:nvPr/>
        </p:nvSpPr>
        <p:spPr>
          <a:xfrm>
            <a:off x="499821" y="1349277"/>
            <a:ext cx="3178338" cy="1039216"/>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799D5"/>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buSzPct val="100000"/>
            </a:pPr>
            <a:r>
              <a:rPr lang="en-US" sz="2000" b="1" dirty="0">
                <a:solidFill>
                  <a:srgbClr val="FFFFFF"/>
                </a:solidFill>
                <a:latin typeface="Arial" panose="020B0604020202020204" pitchFamily="34" charset="0"/>
                <a:cs typeface="Arial" panose="020B0604020202020204" pitchFamily="34" charset="0"/>
              </a:rPr>
              <a:t>Funding pool</a:t>
            </a:r>
          </a:p>
          <a:p>
            <a:pPr algn="ctr">
              <a:spcBef>
                <a:spcPts val="200"/>
              </a:spcBef>
              <a:buSzPct val="100000"/>
            </a:pPr>
            <a:r>
              <a:rPr lang="en-US" sz="2000" dirty="0">
                <a:solidFill>
                  <a:srgbClr val="FFFFFF"/>
                </a:solidFill>
                <a:latin typeface="Arial" panose="020B0604020202020204" pitchFamily="34" charset="0"/>
                <a:cs typeface="Arial" panose="020B0604020202020204" pitchFamily="34" charset="0"/>
              </a:rPr>
              <a:t>$2.75B</a:t>
            </a:r>
          </a:p>
        </p:txBody>
      </p:sp>
      <p:sp>
        <p:nvSpPr>
          <p:cNvPr id="40" name="Rectangle 39">
            <a:extLst>
              <a:ext uri="{FF2B5EF4-FFF2-40B4-BE49-F238E27FC236}">
                <a16:creationId xmlns:a16="http://schemas.microsoft.com/office/drawing/2014/main" id="{BD815139-9206-48B1-B267-4EE21160DCE4}"/>
              </a:ext>
            </a:extLst>
          </p:cNvPr>
          <p:cNvSpPr/>
          <p:nvPr/>
        </p:nvSpPr>
        <p:spPr>
          <a:xfrm>
            <a:off x="3888533" y="1349277"/>
            <a:ext cx="7973430" cy="3244516"/>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spcAft>
                <a:spcPts val="600"/>
              </a:spcAft>
              <a:buClr>
                <a:srgbClr val="5799D5"/>
              </a:buClr>
              <a:buSzPct val="100000"/>
            </a:pPr>
            <a:r>
              <a:rPr lang="en-US" sz="1600" b="1" dirty="0">
                <a:solidFill>
                  <a:srgbClr val="164484"/>
                </a:solidFill>
                <a:latin typeface="Arial" panose="020B0604020202020204" pitchFamily="34" charset="0"/>
                <a:cs typeface="Arial" panose="020B0604020202020204" pitchFamily="34" charset="0"/>
              </a:rPr>
              <a:t>The Digital Equity Act created three programs:</a:t>
            </a:r>
          </a:p>
          <a:p>
            <a:pPr marL="0" lvl="1">
              <a:spcAft>
                <a:spcPts val="600"/>
              </a:spcAft>
              <a:buClr>
                <a:srgbClr val="5799D5"/>
              </a:buClr>
              <a:buSzPct val="100000"/>
            </a:pPr>
            <a:endParaRPr lang="en-US" sz="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0" lvl="1">
              <a:spcAft>
                <a:spcPts val="600"/>
              </a:spcAft>
              <a:buClr>
                <a:srgbClr val="5799D5"/>
              </a:buClr>
              <a:buSzPct val="100000"/>
            </a:pPr>
            <a:endParaRPr lang="en-US" sz="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1587" lvl="1">
              <a:spcAft>
                <a:spcPts val="600"/>
              </a:spcAft>
              <a:buClr>
                <a:srgbClr val="5799D5"/>
              </a:buClr>
              <a:buSzPct val="100000"/>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1587" lvl="1">
              <a:spcAft>
                <a:spcPts val="600"/>
              </a:spcAft>
              <a:buClr>
                <a:srgbClr val="5799D5"/>
              </a:buClr>
              <a:buSzPct val="100000"/>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1587" lvl="1">
              <a:spcAft>
                <a:spcPts val="600"/>
              </a:spcAft>
              <a:buClr>
                <a:srgbClr val="5799D5"/>
              </a:buClr>
              <a:buSzPct val="100000"/>
            </a:pPr>
            <a:r>
              <a:rPr lang="en-US" sz="1600" b="1" dirty="0">
                <a:solidFill>
                  <a:srgbClr val="164484"/>
                </a:solidFill>
                <a:latin typeface="Arial" panose="020B0604020202020204" pitchFamily="34" charset="0"/>
                <a:ea typeface="Calibri" panose="020F0502020204030204" pitchFamily="34" charset="0"/>
                <a:cs typeface="Arial" panose="020B0604020202020204" pitchFamily="34" charset="0"/>
              </a:rPr>
              <a:t>Example eligible uses of funds include:</a:t>
            </a:r>
          </a:p>
          <a:p>
            <a:pPr marL="288925" lvl="1" indent="-287338">
              <a:spcAft>
                <a:spcPts val="600"/>
              </a:spcAft>
              <a:buClr>
                <a:srgbClr val="575454"/>
              </a:buClr>
              <a:buSzPct val="100000"/>
              <a:buFont typeface="Trebuchet MS" panose="020B0603020202020204" pitchFamily="34" charset="0"/>
              <a:buChar char="•"/>
            </a:pPr>
            <a:endParaRPr lang="en-US" sz="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01E22DE-45EC-4349-BC08-917CC67602C2}"/>
              </a:ext>
            </a:extLst>
          </p:cNvPr>
          <p:cNvSpPr/>
          <p:nvPr/>
        </p:nvSpPr>
        <p:spPr>
          <a:xfrm>
            <a:off x="499821" y="2474775"/>
            <a:ext cx="3178338" cy="2119018"/>
          </a:xfrm>
          <a:prstGeom prst="rect">
            <a:avLst/>
          </a:prstGeom>
          <a:solidFill>
            <a:srgbClr val="16448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buClr>
                <a:schemeClr val="bg1"/>
              </a:buClr>
              <a:buSzPct val="100000"/>
            </a:pPr>
            <a:r>
              <a:rPr lang="en-US" sz="1600" dirty="0">
                <a:solidFill>
                  <a:schemeClr val="bg1"/>
                </a:solidFill>
              </a:rPr>
              <a:t>Three programs that provide funding to promote digital inclusion and advance equity for all. They aim to ensure that all communities can access and use affordable, reliable</a:t>
            </a:r>
            <a:r>
              <a:rPr lang="en-US" sz="1600" dirty="0">
                <a:solidFill>
                  <a:srgbClr val="FF0000"/>
                </a:solidFill>
              </a:rPr>
              <a:t>,</a:t>
            </a:r>
            <a:r>
              <a:rPr lang="en-US" sz="1600" dirty="0">
                <a:solidFill>
                  <a:schemeClr val="bg1"/>
                </a:solidFill>
              </a:rPr>
              <a:t> high-speed internet to meet their needs and improve their lives.</a:t>
            </a:r>
          </a:p>
        </p:txBody>
      </p:sp>
      <p:sp>
        <p:nvSpPr>
          <p:cNvPr id="26" name="TextBox 25">
            <a:extLst>
              <a:ext uri="{FF2B5EF4-FFF2-40B4-BE49-F238E27FC236}">
                <a16:creationId xmlns:a16="http://schemas.microsoft.com/office/drawing/2014/main" id="{FF440760-1102-4776-B097-69EFBFF5A736}"/>
              </a:ext>
            </a:extLst>
          </p:cNvPr>
          <p:cNvSpPr txBox="1"/>
          <p:nvPr/>
        </p:nvSpPr>
        <p:spPr>
          <a:xfrm>
            <a:off x="6096000" y="1187694"/>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PROGRAMS HIGHLIGHTS</a:t>
            </a:r>
          </a:p>
        </p:txBody>
      </p:sp>
      <p:graphicFrame>
        <p:nvGraphicFramePr>
          <p:cNvPr id="13" name="Table 13">
            <a:extLst>
              <a:ext uri="{FF2B5EF4-FFF2-40B4-BE49-F238E27FC236}">
                <a16:creationId xmlns:a16="http://schemas.microsoft.com/office/drawing/2014/main" id="{E7D0058B-3A29-4E7D-985B-1560C4A1AE30}"/>
              </a:ext>
            </a:extLst>
          </p:cNvPr>
          <p:cNvGraphicFramePr>
            <a:graphicFrameLocks noGrp="1"/>
          </p:cNvGraphicFramePr>
          <p:nvPr/>
        </p:nvGraphicFramePr>
        <p:xfrm>
          <a:off x="3971849" y="3101366"/>
          <a:ext cx="7890114" cy="1496239"/>
        </p:xfrm>
        <a:graphic>
          <a:graphicData uri="http://schemas.openxmlformats.org/drawingml/2006/table">
            <a:tbl>
              <a:tblPr firstRow="1" bandRow="1">
                <a:tableStyleId>{2D5ABB26-0587-4C30-8999-92F81FD0307C}</a:tableStyleId>
              </a:tblPr>
              <a:tblGrid>
                <a:gridCol w="2630038">
                  <a:extLst>
                    <a:ext uri="{9D8B030D-6E8A-4147-A177-3AD203B41FA5}">
                      <a16:colId xmlns:a16="http://schemas.microsoft.com/office/drawing/2014/main" val="2049931648"/>
                    </a:ext>
                  </a:extLst>
                </a:gridCol>
                <a:gridCol w="2630038">
                  <a:extLst>
                    <a:ext uri="{9D8B030D-6E8A-4147-A177-3AD203B41FA5}">
                      <a16:colId xmlns:a16="http://schemas.microsoft.com/office/drawing/2014/main" val="1043574612"/>
                    </a:ext>
                  </a:extLst>
                </a:gridCol>
                <a:gridCol w="2630038">
                  <a:extLst>
                    <a:ext uri="{9D8B030D-6E8A-4147-A177-3AD203B41FA5}">
                      <a16:colId xmlns:a16="http://schemas.microsoft.com/office/drawing/2014/main" val="1981860895"/>
                    </a:ext>
                  </a:extLst>
                </a:gridCol>
              </a:tblGrid>
              <a:tr h="702261">
                <a:tc>
                  <a:txBody>
                    <a:bodyPr/>
                    <a:lstStyle/>
                    <a:p>
                      <a:r>
                        <a:rPr lang="en-US" sz="1400" dirty="0">
                          <a:solidFill>
                            <a:srgbClr val="000000"/>
                          </a:solidFill>
                        </a:rPr>
                        <a:t>Developing digital equity plans; states must develop a plan to be eligible for state capacity grants</a:t>
                      </a:r>
                    </a:p>
                  </a:txBody>
                  <a:tcPr marL="365760"/>
                </a:tc>
                <a:tc>
                  <a:txBody>
                    <a:bodyPr/>
                    <a:lstStyle/>
                    <a:p>
                      <a:r>
                        <a:rPr lang="en-US" sz="1400" dirty="0">
                          <a:solidFill>
                            <a:srgbClr val="000000"/>
                          </a:solidFill>
                        </a:rPr>
                        <a:t>Making awards to other entities to help make digital equity plans</a:t>
                      </a:r>
                    </a:p>
                  </a:txBody>
                  <a:tcPr marL="365760"/>
                </a:tc>
                <a:tc>
                  <a:txBody>
                    <a:bodyPr/>
                    <a:lstStyle/>
                    <a:p>
                      <a:r>
                        <a:rPr lang="en-US" sz="1400" dirty="0">
                          <a:solidFill>
                            <a:srgbClr val="000000"/>
                          </a:solidFill>
                        </a:rPr>
                        <a:t>Improving accessibility and inclusivity of public resources</a:t>
                      </a:r>
                    </a:p>
                  </a:txBody>
                  <a:tcPr marL="365760"/>
                </a:tc>
                <a:extLst>
                  <a:ext uri="{0D108BD9-81ED-4DB2-BD59-A6C34878D82A}">
                    <a16:rowId xmlns:a16="http://schemas.microsoft.com/office/drawing/2014/main" val="2740803269"/>
                  </a:ext>
                </a:extLst>
              </a:tr>
              <a:tr h="551359">
                <a:tc>
                  <a:txBody>
                    <a:bodyPr/>
                    <a:lstStyle/>
                    <a:p>
                      <a:r>
                        <a:rPr lang="en-US" sz="1400" dirty="0">
                          <a:solidFill>
                            <a:srgbClr val="000000"/>
                          </a:solidFill>
                        </a:rPr>
                        <a:t>Implementing digital equity plans and related activities</a:t>
                      </a:r>
                    </a:p>
                  </a:txBody>
                  <a:tcPr marL="365760"/>
                </a:tc>
                <a:tc>
                  <a:txBody>
                    <a:bodyPr/>
                    <a:lstStyle/>
                    <a:p>
                      <a:r>
                        <a:rPr lang="en-US" sz="1400" dirty="0">
                          <a:solidFill>
                            <a:srgbClr val="000000"/>
                          </a:solidFill>
                        </a:rPr>
                        <a:t>Providing digital literacy and digital skills education</a:t>
                      </a:r>
                    </a:p>
                  </a:txBody>
                  <a:tcPr marL="365760"/>
                </a:tc>
                <a:tc>
                  <a:txBody>
                    <a:bodyPr/>
                    <a:lstStyle/>
                    <a:p>
                      <a:r>
                        <a:rPr lang="en-US" sz="1400" dirty="0">
                          <a:solidFill>
                            <a:srgbClr val="000000"/>
                          </a:solidFill>
                        </a:rPr>
                        <a:t>Facilitating the adoption of high-speed Internet</a:t>
                      </a:r>
                    </a:p>
                  </a:txBody>
                  <a:tcPr marL="365760"/>
                </a:tc>
                <a:extLst>
                  <a:ext uri="{0D108BD9-81ED-4DB2-BD59-A6C34878D82A}">
                    <a16:rowId xmlns:a16="http://schemas.microsoft.com/office/drawing/2014/main" val="3338416117"/>
                  </a:ext>
                </a:extLst>
              </a:tr>
            </a:tbl>
          </a:graphicData>
        </a:graphic>
      </p:graphicFrame>
      <p:graphicFrame>
        <p:nvGraphicFramePr>
          <p:cNvPr id="5" name="Table 5">
            <a:extLst>
              <a:ext uri="{FF2B5EF4-FFF2-40B4-BE49-F238E27FC236}">
                <a16:creationId xmlns:a16="http://schemas.microsoft.com/office/drawing/2014/main" id="{0F70EE98-9454-4A31-9189-C4BBEB3CCFE5}"/>
              </a:ext>
            </a:extLst>
          </p:cNvPr>
          <p:cNvGraphicFramePr>
            <a:graphicFrameLocks noGrp="1"/>
          </p:cNvGraphicFramePr>
          <p:nvPr>
            <p:extLst>
              <p:ext uri="{D42A27DB-BD31-4B8C-83A1-F6EECF244321}">
                <p14:modId xmlns:p14="http://schemas.microsoft.com/office/powerpoint/2010/main" val="2714607071"/>
              </p:ext>
            </p:extLst>
          </p:nvPr>
        </p:nvGraphicFramePr>
        <p:xfrm>
          <a:off x="4139382" y="1786166"/>
          <a:ext cx="7555047" cy="944880"/>
        </p:xfrm>
        <a:graphic>
          <a:graphicData uri="http://schemas.openxmlformats.org/drawingml/2006/table">
            <a:tbl>
              <a:tblPr firstRow="1" bandRow="1">
                <a:tableStyleId>{5C22544A-7EE6-4342-B048-85BDC9FD1C3A}</a:tableStyleId>
              </a:tblPr>
              <a:tblGrid>
                <a:gridCol w="2448454">
                  <a:extLst>
                    <a:ext uri="{9D8B030D-6E8A-4147-A177-3AD203B41FA5}">
                      <a16:colId xmlns:a16="http://schemas.microsoft.com/office/drawing/2014/main" val="3390315683"/>
                    </a:ext>
                  </a:extLst>
                </a:gridCol>
                <a:gridCol w="2763982">
                  <a:extLst>
                    <a:ext uri="{9D8B030D-6E8A-4147-A177-3AD203B41FA5}">
                      <a16:colId xmlns:a16="http://schemas.microsoft.com/office/drawing/2014/main" val="2538125830"/>
                    </a:ext>
                  </a:extLst>
                </a:gridCol>
                <a:gridCol w="2342611">
                  <a:extLst>
                    <a:ext uri="{9D8B030D-6E8A-4147-A177-3AD203B41FA5}">
                      <a16:colId xmlns:a16="http://schemas.microsoft.com/office/drawing/2014/main" val="3207541592"/>
                    </a:ext>
                  </a:extLst>
                </a:gridCol>
              </a:tblGrid>
              <a:tr h="882724">
                <a:tc>
                  <a:txBody>
                    <a:bodyPr/>
                    <a:lstStyle/>
                    <a:p>
                      <a:pPr algn="l"/>
                      <a:r>
                        <a:rPr lang="en-US" sz="1400" b="0" kern="1200" dirty="0">
                          <a:solidFill>
                            <a:srgbClr val="164484"/>
                          </a:solidFill>
                          <a:latin typeface="+mn-lt"/>
                          <a:ea typeface="+mn-ea"/>
                          <a:cs typeface="+mn-cs"/>
                        </a:rPr>
                        <a:t>State Planning</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rPr>
                        <a:t>$60M </a:t>
                      </a:r>
                      <a:r>
                        <a:rPr lang="en-US" sz="1400" b="0" kern="1200" dirty="0">
                          <a:solidFill>
                            <a:srgbClr val="000000"/>
                          </a:solidFill>
                          <a:latin typeface="+mn-lt"/>
                          <a:ea typeface="+mn-ea"/>
                          <a:cs typeface="+mn-cs"/>
                        </a:rPr>
                        <a:t>formula funding program to develop digital equity plans</a:t>
                      </a:r>
                    </a:p>
                  </a:txBody>
                  <a:tcPr>
                    <a:noFill/>
                  </a:tcPr>
                </a:tc>
                <a:tc>
                  <a:txBody>
                    <a:bodyPr/>
                    <a:lstStyle/>
                    <a:p>
                      <a:pPr algn="l"/>
                      <a:r>
                        <a:rPr lang="en-US" sz="1400" b="0" kern="1200" dirty="0">
                          <a:solidFill>
                            <a:srgbClr val="164484"/>
                          </a:solidFill>
                          <a:latin typeface="+mn-lt"/>
                          <a:ea typeface="+mn-ea"/>
                          <a:cs typeface="+mn-cs"/>
                        </a:rPr>
                        <a:t>State Capacity</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rPr>
                        <a:t>$</a:t>
                      </a:r>
                      <a:r>
                        <a:rPr lang="en-US" sz="1400" b="0" kern="1200" dirty="0">
                          <a:solidFill>
                            <a:srgbClr val="000000"/>
                          </a:solidFill>
                          <a:latin typeface="+mn-lt"/>
                          <a:ea typeface="+mn-ea"/>
                          <a:cs typeface="+mn-cs"/>
                        </a:rPr>
                        <a:t>1.44B formula funding program to implement plans &amp; promote </a:t>
                      </a:r>
                      <a:r>
                        <a:rPr lang="en-US" sz="1400" b="0" dirty="0">
                          <a:solidFill>
                            <a:srgbClr val="000000"/>
                          </a:solidFill>
                        </a:rPr>
                        <a:t>digital inclusion</a:t>
                      </a:r>
                    </a:p>
                  </a:txBody>
                  <a:tcPr>
                    <a:noFill/>
                  </a:tcPr>
                </a:tc>
                <a:tc>
                  <a:txBody>
                    <a:bodyPr/>
                    <a:lstStyle/>
                    <a:p>
                      <a:pPr algn="l"/>
                      <a:r>
                        <a:rPr lang="en-US" sz="1400" b="0" dirty="0">
                          <a:solidFill>
                            <a:srgbClr val="164484"/>
                          </a:solidFill>
                        </a:rPr>
                        <a:t>Competitive</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rPr>
                        <a:t>$1.25B to implement digital equity and inclusion activities</a:t>
                      </a:r>
                    </a:p>
                  </a:txBody>
                  <a:tcPr>
                    <a:noFill/>
                  </a:tcPr>
                </a:tc>
                <a:extLst>
                  <a:ext uri="{0D108BD9-81ED-4DB2-BD59-A6C34878D82A}">
                    <a16:rowId xmlns:a16="http://schemas.microsoft.com/office/drawing/2014/main" val="1741706719"/>
                  </a:ext>
                </a:extLst>
              </a:tr>
            </a:tbl>
          </a:graphicData>
        </a:graphic>
      </p:graphicFrame>
      <p:sp>
        <p:nvSpPr>
          <p:cNvPr id="123" name="Rectangle 122">
            <a:extLst>
              <a:ext uri="{FF2B5EF4-FFF2-40B4-BE49-F238E27FC236}">
                <a16:creationId xmlns:a16="http://schemas.microsoft.com/office/drawing/2014/main" id="{3DA501D5-3E21-4C0C-A34A-942A410BDF6F}"/>
              </a:ext>
            </a:extLst>
          </p:cNvPr>
          <p:cNvSpPr/>
          <p:nvPr/>
        </p:nvSpPr>
        <p:spPr>
          <a:xfrm>
            <a:off x="531133" y="4796651"/>
            <a:ext cx="11330829" cy="1750990"/>
          </a:xfrm>
          <a:prstGeom prst="rect">
            <a:avLst/>
          </a:prstGeom>
          <a:solidFill>
            <a:schemeClr val="bg1"/>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356BA900-9DA4-4C8C-B39E-4F763FA4E1D4}"/>
              </a:ext>
            </a:extLst>
          </p:cNvPr>
          <p:cNvSpPr txBox="1"/>
          <p:nvPr/>
        </p:nvSpPr>
        <p:spPr>
          <a:xfrm>
            <a:off x="4396189" y="4636968"/>
            <a:ext cx="3399624" cy="323165"/>
          </a:xfrm>
          <a:prstGeom prst="rect">
            <a:avLst/>
          </a:prstGeom>
          <a:solidFill>
            <a:srgbClr val="FFFFFF"/>
          </a:solidFill>
        </p:spPr>
        <p:txBody>
          <a:bodyPr vert="horz" wrap="square" lIns="0" tIns="0" rIns="0" bIns="0" rtlCol="0">
            <a:spAutoFit/>
          </a:bodyPr>
          <a:lstStyle/>
          <a:p>
            <a:pPr algn="ctr">
              <a:spcBef>
                <a:spcPts val="200"/>
              </a:spcBef>
              <a:buSzPct val="100000"/>
            </a:pPr>
            <a:r>
              <a:rPr lang="en-US" sz="2100" b="1" dirty="0">
                <a:solidFill>
                  <a:srgbClr val="164484"/>
                </a:solidFill>
                <a:latin typeface="Arial" panose="020B0604020202020204" pitchFamily="34" charset="0"/>
                <a:cs typeface="Arial" panose="020B0604020202020204" pitchFamily="34" charset="0"/>
              </a:rPr>
              <a:t>ESTIMATED TIMELINE</a:t>
            </a:r>
          </a:p>
        </p:txBody>
      </p:sp>
      <p:grpSp>
        <p:nvGrpSpPr>
          <p:cNvPr id="62" name="Group 61">
            <a:extLst>
              <a:ext uri="{FF2B5EF4-FFF2-40B4-BE49-F238E27FC236}">
                <a16:creationId xmlns:a16="http://schemas.microsoft.com/office/drawing/2014/main" id="{2067FD6B-4654-4D19-AF7A-847CC183D26A}"/>
              </a:ext>
            </a:extLst>
          </p:cNvPr>
          <p:cNvGrpSpPr/>
          <p:nvPr/>
        </p:nvGrpSpPr>
        <p:grpSpPr>
          <a:xfrm>
            <a:off x="4087961" y="3173936"/>
            <a:ext cx="164393" cy="160470"/>
            <a:chOff x="4329243" y="5690404"/>
            <a:chExt cx="306910" cy="306911"/>
          </a:xfrm>
        </p:grpSpPr>
        <p:sp>
          <p:nvSpPr>
            <p:cNvPr id="63" name="Oval 14">
              <a:extLst>
                <a:ext uri="{FF2B5EF4-FFF2-40B4-BE49-F238E27FC236}">
                  <a16:creationId xmlns:a16="http://schemas.microsoft.com/office/drawing/2014/main" id="{A20C0299-CF05-4A6D-B59B-F9B1D67C8CF9}"/>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4" name="Freeform 15">
              <a:extLst>
                <a:ext uri="{FF2B5EF4-FFF2-40B4-BE49-F238E27FC236}">
                  <a16:creationId xmlns:a16="http://schemas.microsoft.com/office/drawing/2014/main" id="{63566938-B7C9-4A0E-BC18-10CB46019BBA}"/>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7" name="Group 76">
            <a:extLst>
              <a:ext uri="{FF2B5EF4-FFF2-40B4-BE49-F238E27FC236}">
                <a16:creationId xmlns:a16="http://schemas.microsoft.com/office/drawing/2014/main" id="{F8B8F822-5145-44EF-B81F-A61ADCEE4AD7}"/>
              </a:ext>
            </a:extLst>
          </p:cNvPr>
          <p:cNvGrpSpPr/>
          <p:nvPr/>
        </p:nvGrpSpPr>
        <p:grpSpPr>
          <a:xfrm>
            <a:off x="4087961" y="4118816"/>
            <a:ext cx="164393" cy="160470"/>
            <a:chOff x="4329243" y="5690404"/>
            <a:chExt cx="306910" cy="306911"/>
          </a:xfrm>
        </p:grpSpPr>
        <p:sp>
          <p:nvSpPr>
            <p:cNvPr id="78" name="Oval 14">
              <a:extLst>
                <a:ext uri="{FF2B5EF4-FFF2-40B4-BE49-F238E27FC236}">
                  <a16:creationId xmlns:a16="http://schemas.microsoft.com/office/drawing/2014/main" id="{0D6F3CB7-BAB4-4EB9-B285-64B872A65F15}"/>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15">
              <a:extLst>
                <a:ext uri="{FF2B5EF4-FFF2-40B4-BE49-F238E27FC236}">
                  <a16:creationId xmlns:a16="http://schemas.microsoft.com/office/drawing/2014/main" id="{6F0B6A35-5B05-46A2-8911-3ED6AC24FD71}"/>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0" name="Group 79">
            <a:extLst>
              <a:ext uri="{FF2B5EF4-FFF2-40B4-BE49-F238E27FC236}">
                <a16:creationId xmlns:a16="http://schemas.microsoft.com/office/drawing/2014/main" id="{BBE04991-7777-4EE2-B4A1-7F355CE394AF}"/>
              </a:ext>
            </a:extLst>
          </p:cNvPr>
          <p:cNvGrpSpPr/>
          <p:nvPr/>
        </p:nvGrpSpPr>
        <p:grpSpPr>
          <a:xfrm>
            <a:off x="6717999" y="3173936"/>
            <a:ext cx="164393" cy="160470"/>
            <a:chOff x="4329243" y="5690404"/>
            <a:chExt cx="306910" cy="306911"/>
          </a:xfrm>
        </p:grpSpPr>
        <p:sp>
          <p:nvSpPr>
            <p:cNvPr id="81" name="Oval 14">
              <a:extLst>
                <a:ext uri="{FF2B5EF4-FFF2-40B4-BE49-F238E27FC236}">
                  <a16:creationId xmlns:a16="http://schemas.microsoft.com/office/drawing/2014/main" id="{2A88850A-6059-43A2-BDAA-6CA969FC23C9}"/>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15">
              <a:extLst>
                <a:ext uri="{FF2B5EF4-FFF2-40B4-BE49-F238E27FC236}">
                  <a16:creationId xmlns:a16="http://schemas.microsoft.com/office/drawing/2014/main" id="{7CCD2ABF-B303-4C2A-A067-658AE123BA51}"/>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2F31DB67-022D-4607-B121-2667E8547024}"/>
              </a:ext>
            </a:extLst>
          </p:cNvPr>
          <p:cNvGrpSpPr/>
          <p:nvPr/>
        </p:nvGrpSpPr>
        <p:grpSpPr>
          <a:xfrm>
            <a:off x="6717999" y="4118816"/>
            <a:ext cx="164393" cy="160470"/>
            <a:chOff x="4329243" y="5690404"/>
            <a:chExt cx="306910" cy="306911"/>
          </a:xfrm>
        </p:grpSpPr>
        <p:sp>
          <p:nvSpPr>
            <p:cNvPr id="87" name="Oval 14">
              <a:extLst>
                <a:ext uri="{FF2B5EF4-FFF2-40B4-BE49-F238E27FC236}">
                  <a16:creationId xmlns:a16="http://schemas.microsoft.com/office/drawing/2014/main" id="{FB0DA79E-E0DD-4E7E-86D8-26AB13834AE3}"/>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8" name="Freeform 15">
              <a:extLst>
                <a:ext uri="{FF2B5EF4-FFF2-40B4-BE49-F238E27FC236}">
                  <a16:creationId xmlns:a16="http://schemas.microsoft.com/office/drawing/2014/main" id="{5FF8BFA4-671B-4676-9BC8-70492CBC5053}"/>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2" name="Group 91">
            <a:extLst>
              <a:ext uri="{FF2B5EF4-FFF2-40B4-BE49-F238E27FC236}">
                <a16:creationId xmlns:a16="http://schemas.microsoft.com/office/drawing/2014/main" id="{CAAB41A4-C2F9-4CCD-A74B-75FCFDB36F8B}"/>
              </a:ext>
            </a:extLst>
          </p:cNvPr>
          <p:cNvGrpSpPr/>
          <p:nvPr/>
        </p:nvGrpSpPr>
        <p:grpSpPr>
          <a:xfrm>
            <a:off x="9348037" y="3173936"/>
            <a:ext cx="164393" cy="160470"/>
            <a:chOff x="4329243" y="5690404"/>
            <a:chExt cx="306910" cy="306911"/>
          </a:xfrm>
        </p:grpSpPr>
        <p:sp>
          <p:nvSpPr>
            <p:cNvPr id="104" name="Oval 14">
              <a:extLst>
                <a:ext uri="{FF2B5EF4-FFF2-40B4-BE49-F238E27FC236}">
                  <a16:creationId xmlns:a16="http://schemas.microsoft.com/office/drawing/2014/main" id="{3505A290-8217-483A-A9EC-E47B28DD8933}"/>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5" name="Freeform 15">
              <a:extLst>
                <a:ext uri="{FF2B5EF4-FFF2-40B4-BE49-F238E27FC236}">
                  <a16:creationId xmlns:a16="http://schemas.microsoft.com/office/drawing/2014/main" id="{34D022D9-EA1D-4E1E-A613-D0188487F8BC}"/>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6" name="Group 105">
            <a:extLst>
              <a:ext uri="{FF2B5EF4-FFF2-40B4-BE49-F238E27FC236}">
                <a16:creationId xmlns:a16="http://schemas.microsoft.com/office/drawing/2014/main" id="{BB9F7632-2738-4BC9-9046-2D58570A5FB4}"/>
              </a:ext>
            </a:extLst>
          </p:cNvPr>
          <p:cNvGrpSpPr/>
          <p:nvPr/>
        </p:nvGrpSpPr>
        <p:grpSpPr>
          <a:xfrm>
            <a:off x="9348037" y="4118816"/>
            <a:ext cx="164393" cy="160470"/>
            <a:chOff x="4329243" y="5690404"/>
            <a:chExt cx="306910" cy="306911"/>
          </a:xfrm>
        </p:grpSpPr>
        <p:sp>
          <p:nvSpPr>
            <p:cNvPr id="107" name="Oval 14">
              <a:extLst>
                <a:ext uri="{FF2B5EF4-FFF2-40B4-BE49-F238E27FC236}">
                  <a16:creationId xmlns:a16="http://schemas.microsoft.com/office/drawing/2014/main" id="{91D32599-7294-45D1-A2EE-8504005AFAE1}"/>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8" name="Freeform 15">
              <a:extLst>
                <a:ext uri="{FF2B5EF4-FFF2-40B4-BE49-F238E27FC236}">
                  <a16:creationId xmlns:a16="http://schemas.microsoft.com/office/drawing/2014/main" id="{610DA39F-65A3-4EA6-BC88-67E0A284D4B2}"/>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cxnSp>
        <p:nvCxnSpPr>
          <p:cNvPr id="111" name="Straight Arrow Connector 110">
            <a:extLst>
              <a:ext uri="{FF2B5EF4-FFF2-40B4-BE49-F238E27FC236}">
                <a16:creationId xmlns:a16="http://schemas.microsoft.com/office/drawing/2014/main" id="{C73A91EB-E030-4AC6-881B-65FED727D7D5}"/>
              </a:ext>
            </a:extLst>
          </p:cNvPr>
          <p:cNvCxnSpPr>
            <a:cxnSpLocks/>
          </p:cNvCxnSpPr>
          <p:nvPr/>
        </p:nvCxnSpPr>
        <p:spPr>
          <a:xfrm>
            <a:off x="831666" y="5612928"/>
            <a:ext cx="10769992"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2EC20318-9760-4EDA-9567-090F9D7591D5}"/>
              </a:ext>
            </a:extLst>
          </p:cNvPr>
          <p:cNvSpPr/>
          <p:nvPr/>
        </p:nvSpPr>
        <p:spPr>
          <a:xfrm>
            <a:off x="718107"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3" name="Oval 112">
            <a:extLst>
              <a:ext uri="{FF2B5EF4-FFF2-40B4-BE49-F238E27FC236}">
                <a16:creationId xmlns:a16="http://schemas.microsoft.com/office/drawing/2014/main" id="{A196236E-E8FE-42D5-8165-43CBECF974BA}"/>
              </a:ext>
            </a:extLst>
          </p:cNvPr>
          <p:cNvSpPr/>
          <p:nvPr/>
        </p:nvSpPr>
        <p:spPr>
          <a:xfrm>
            <a:off x="3288362"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5" name="Oval 114">
            <a:extLst>
              <a:ext uri="{FF2B5EF4-FFF2-40B4-BE49-F238E27FC236}">
                <a16:creationId xmlns:a16="http://schemas.microsoft.com/office/drawing/2014/main" id="{AE1873D3-D469-4510-B2B1-FB571176B20C}"/>
              </a:ext>
            </a:extLst>
          </p:cNvPr>
          <p:cNvSpPr/>
          <p:nvPr/>
        </p:nvSpPr>
        <p:spPr>
          <a:xfrm>
            <a:off x="10999127"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6" name="Oval 115">
            <a:extLst>
              <a:ext uri="{FF2B5EF4-FFF2-40B4-BE49-F238E27FC236}">
                <a16:creationId xmlns:a16="http://schemas.microsoft.com/office/drawing/2014/main" id="{62267B20-6B38-4D25-AFA8-B302948EE67D}"/>
              </a:ext>
            </a:extLst>
          </p:cNvPr>
          <p:cNvSpPr/>
          <p:nvPr/>
        </p:nvSpPr>
        <p:spPr>
          <a:xfrm>
            <a:off x="5858617"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17" name="TextBox 116">
            <a:extLst>
              <a:ext uri="{FF2B5EF4-FFF2-40B4-BE49-F238E27FC236}">
                <a16:creationId xmlns:a16="http://schemas.microsoft.com/office/drawing/2014/main" id="{9B67768D-3121-4F0B-92B8-43534D99B940}"/>
              </a:ext>
            </a:extLst>
          </p:cNvPr>
          <p:cNvSpPr txBox="1"/>
          <p:nvPr/>
        </p:nvSpPr>
        <p:spPr>
          <a:xfrm>
            <a:off x="335042"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2</a:t>
            </a:r>
          </a:p>
        </p:txBody>
      </p:sp>
      <p:sp>
        <p:nvSpPr>
          <p:cNvPr id="118" name="TextBox 117">
            <a:extLst>
              <a:ext uri="{FF2B5EF4-FFF2-40B4-BE49-F238E27FC236}">
                <a16:creationId xmlns:a16="http://schemas.microsoft.com/office/drawing/2014/main" id="{26787D4C-67BB-41F6-9449-C4BC49CE0A65}"/>
              </a:ext>
            </a:extLst>
          </p:cNvPr>
          <p:cNvSpPr txBox="1"/>
          <p:nvPr/>
        </p:nvSpPr>
        <p:spPr>
          <a:xfrm>
            <a:off x="2905297"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3</a:t>
            </a:r>
          </a:p>
        </p:txBody>
      </p:sp>
      <p:sp>
        <p:nvSpPr>
          <p:cNvPr id="122" name="TextBox 121">
            <a:extLst>
              <a:ext uri="{FF2B5EF4-FFF2-40B4-BE49-F238E27FC236}">
                <a16:creationId xmlns:a16="http://schemas.microsoft.com/office/drawing/2014/main" id="{CA3CE60C-FF58-4C1D-88C5-8D345AF6BF63}"/>
              </a:ext>
            </a:extLst>
          </p:cNvPr>
          <p:cNvSpPr txBox="1"/>
          <p:nvPr/>
        </p:nvSpPr>
        <p:spPr>
          <a:xfrm>
            <a:off x="5475552"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4</a:t>
            </a:r>
          </a:p>
        </p:txBody>
      </p:sp>
      <p:sp>
        <p:nvSpPr>
          <p:cNvPr id="124" name="TextBox 123">
            <a:extLst>
              <a:ext uri="{FF2B5EF4-FFF2-40B4-BE49-F238E27FC236}">
                <a16:creationId xmlns:a16="http://schemas.microsoft.com/office/drawing/2014/main" id="{A784211F-0821-4708-ACC3-F59489BC51A3}"/>
              </a:ext>
            </a:extLst>
          </p:cNvPr>
          <p:cNvSpPr txBox="1"/>
          <p:nvPr/>
        </p:nvSpPr>
        <p:spPr>
          <a:xfrm>
            <a:off x="8045807"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5</a:t>
            </a:r>
          </a:p>
        </p:txBody>
      </p:sp>
      <p:sp>
        <p:nvSpPr>
          <p:cNvPr id="125" name="TextBox 124">
            <a:extLst>
              <a:ext uri="{FF2B5EF4-FFF2-40B4-BE49-F238E27FC236}">
                <a16:creationId xmlns:a16="http://schemas.microsoft.com/office/drawing/2014/main" id="{5436CDA8-D873-45B2-95F8-27481E49447E}"/>
              </a:ext>
            </a:extLst>
          </p:cNvPr>
          <p:cNvSpPr txBox="1"/>
          <p:nvPr/>
        </p:nvSpPr>
        <p:spPr>
          <a:xfrm>
            <a:off x="10616060" y="531065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6+</a:t>
            </a:r>
          </a:p>
        </p:txBody>
      </p:sp>
      <p:sp>
        <p:nvSpPr>
          <p:cNvPr id="126" name="Oval 125">
            <a:extLst>
              <a:ext uri="{FF2B5EF4-FFF2-40B4-BE49-F238E27FC236}">
                <a16:creationId xmlns:a16="http://schemas.microsoft.com/office/drawing/2014/main" id="{869B59D6-E514-458A-A2E1-BE801F7CA2D8}"/>
              </a:ext>
            </a:extLst>
          </p:cNvPr>
          <p:cNvSpPr/>
          <p:nvPr/>
        </p:nvSpPr>
        <p:spPr>
          <a:xfrm>
            <a:off x="8428872" y="552390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167" name="Arrow: Chevron 166">
            <a:extLst>
              <a:ext uri="{FF2B5EF4-FFF2-40B4-BE49-F238E27FC236}">
                <a16:creationId xmlns:a16="http://schemas.microsoft.com/office/drawing/2014/main" id="{34EE3B87-3680-4A8E-B572-40288F4DB5FB}"/>
              </a:ext>
            </a:extLst>
          </p:cNvPr>
          <p:cNvSpPr/>
          <p:nvPr/>
        </p:nvSpPr>
        <p:spPr>
          <a:xfrm>
            <a:off x="2703087" y="5882074"/>
            <a:ext cx="2728714" cy="266200"/>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1-year state planning</a:t>
            </a:r>
          </a:p>
        </p:txBody>
      </p:sp>
      <p:sp>
        <p:nvSpPr>
          <p:cNvPr id="169" name="Arrow: Pentagon 168">
            <a:extLst>
              <a:ext uri="{FF2B5EF4-FFF2-40B4-BE49-F238E27FC236}">
                <a16:creationId xmlns:a16="http://schemas.microsoft.com/office/drawing/2014/main" id="{DD19C6D0-7458-4A59-9DD1-824E3A72242C}"/>
              </a:ext>
            </a:extLst>
          </p:cNvPr>
          <p:cNvSpPr/>
          <p:nvPr/>
        </p:nvSpPr>
        <p:spPr>
          <a:xfrm>
            <a:off x="1617634" y="5882074"/>
            <a:ext cx="1068048" cy="266200"/>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Planning app</a:t>
            </a:r>
          </a:p>
        </p:txBody>
      </p:sp>
      <p:sp>
        <p:nvSpPr>
          <p:cNvPr id="171" name="Arrow: Pentagon 170">
            <a:extLst>
              <a:ext uri="{FF2B5EF4-FFF2-40B4-BE49-F238E27FC236}">
                <a16:creationId xmlns:a16="http://schemas.microsoft.com/office/drawing/2014/main" id="{F59833C0-296F-4436-8DB5-27BD2C64B61E}"/>
              </a:ext>
            </a:extLst>
          </p:cNvPr>
          <p:cNvSpPr/>
          <p:nvPr/>
        </p:nvSpPr>
        <p:spPr>
          <a:xfrm>
            <a:off x="5909660" y="5882074"/>
            <a:ext cx="1420964" cy="266200"/>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State cap. app</a:t>
            </a:r>
          </a:p>
        </p:txBody>
      </p:sp>
      <p:sp>
        <p:nvSpPr>
          <p:cNvPr id="174" name="Arrow: Chevron 173">
            <a:extLst>
              <a:ext uri="{FF2B5EF4-FFF2-40B4-BE49-F238E27FC236}">
                <a16:creationId xmlns:a16="http://schemas.microsoft.com/office/drawing/2014/main" id="{9911BAB9-CD57-4D5A-8DA7-5E288915098F}"/>
              </a:ext>
            </a:extLst>
          </p:cNvPr>
          <p:cNvSpPr/>
          <p:nvPr/>
        </p:nvSpPr>
        <p:spPr>
          <a:xfrm>
            <a:off x="7285968" y="5882074"/>
            <a:ext cx="4308658" cy="266200"/>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5-year state capacity implementation</a:t>
            </a:r>
          </a:p>
        </p:txBody>
      </p:sp>
      <p:grpSp>
        <p:nvGrpSpPr>
          <p:cNvPr id="175" name="Group 174">
            <a:extLst>
              <a:ext uri="{FF2B5EF4-FFF2-40B4-BE49-F238E27FC236}">
                <a16:creationId xmlns:a16="http://schemas.microsoft.com/office/drawing/2014/main" id="{2E34FF7B-E4C6-40A0-9EF3-6D0E14A8B05F}"/>
              </a:ext>
            </a:extLst>
          </p:cNvPr>
          <p:cNvGrpSpPr/>
          <p:nvPr/>
        </p:nvGrpSpPr>
        <p:grpSpPr>
          <a:xfrm>
            <a:off x="7469121" y="6197703"/>
            <a:ext cx="4125505" cy="266200"/>
            <a:chOff x="5061808" y="9320422"/>
            <a:chExt cx="2307813" cy="149406"/>
          </a:xfrm>
        </p:grpSpPr>
        <p:sp>
          <p:nvSpPr>
            <p:cNvPr id="176" name="Arrow: Pentagon 175">
              <a:extLst>
                <a:ext uri="{FF2B5EF4-FFF2-40B4-BE49-F238E27FC236}">
                  <a16:creationId xmlns:a16="http://schemas.microsoft.com/office/drawing/2014/main" id="{D2F31602-A72C-40EB-8A2B-0C175CBFCCC6}"/>
                </a:ext>
              </a:extLst>
            </p:cNvPr>
            <p:cNvSpPr/>
            <p:nvPr/>
          </p:nvSpPr>
          <p:spPr>
            <a:xfrm>
              <a:off x="5061808" y="9320422"/>
              <a:ext cx="597645" cy="149406"/>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Comp. app</a:t>
              </a:r>
            </a:p>
          </p:txBody>
        </p:sp>
        <p:sp>
          <p:nvSpPr>
            <p:cNvPr id="177" name="Arrow: Chevron 176">
              <a:extLst>
                <a:ext uri="{FF2B5EF4-FFF2-40B4-BE49-F238E27FC236}">
                  <a16:creationId xmlns:a16="http://schemas.microsoft.com/office/drawing/2014/main" id="{C24F4E6B-3C94-4E99-AF71-A8CE1DA9D246}"/>
                </a:ext>
              </a:extLst>
            </p:cNvPr>
            <p:cNvSpPr/>
            <p:nvPr/>
          </p:nvSpPr>
          <p:spPr>
            <a:xfrm>
              <a:off x="5659453" y="9320422"/>
              <a:ext cx="1710168" cy="149406"/>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4-year competitive implement.</a:t>
              </a:r>
            </a:p>
          </p:txBody>
        </p:sp>
      </p:grpSp>
      <p:sp>
        <p:nvSpPr>
          <p:cNvPr id="178" name="TextBox 177">
            <a:extLst>
              <a:ext uri="{FF2B5EF4-FFF2-40B4-BE49-F238E27FC236}">
                <a16:creationId xmlns:a16="http://schemas.microsoft.com/office/drawing/2014/main" id="{756EA521-D58A-4726-BAE6-BF1B83D11A7F}"/>
              </a:ext>
            </a:extLst>
          </p:cNvPr>
          <p:cNvSpPr txBox="1"/>
          <p:nvPr/>
        </p:nvSpPr>
        <p:spPr>
          <a:xfrm>
            <a:off x="1325442" y="5144655"/>
            <a:ext cx="63518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r>
              <a:rPr lang="en-US" sz="1200" dirty="0" err="1">
                <a:solidFill>
                  <a:srgbClr val="000000"/>
                </a:solidFill>
                <a:latin typeface="+mj-lt"/>
                <a:cs typeface="Arial" panose="020B0604020202020204" pitchFamily="34" charset="0"/>
              </a:rPr>
              <a:t>NOFO</a:t>
            </a:r>
            <a:r>
              <a:rPr lang="en-US" sz="1200" dirty="0">
                <a:solidFill>
                  <a:srgbClr val="000000"/>
                </a:solidFill>
                <a:latin typeface="+mj-lt"/>
                <a:cs typeface="Arial" panose="020B0604020202020204" pitchFamily="34" charset="0"/>
              </a:rPr>
              <a:t> live 5/13</a:t>
            </a:r>
          </a:p>
        </p:txBody>
      </p:sp>
      <p:cxnSp>
        <p:nvCxnSpPr>
          <p:cNvPr id="179" name="Straight Connector 178">
            <a:extLst>
              <a:ext uri="{FF2B5EF4-FFF2-40B4-BE49-F238E27FC236}">
                <a16:creationId xmlns:a16="http://schemas.microsoft.com/office/drawing/2014/main" id="{608829DD-584B-470B-9A6F-845DD50C085A}"/>
              </a:ext>
            </a:extLst>
          </p:cNvPr>
          <p:cNvCxnSpPr>
            <a:cxnSpLocks/>
          </p:cNvCxnSpPr>
          <p:nvPr/>
        </p:nvCxnSpPr>
        <p:spPr>
          <a:xfrm>
            <a:off x="1632874" y="5612928"/>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E451885F-1798-4664-805E-6802DD2FC2E6}"/>
              </a:ext>
            </a:extLst>
          </p:cNvPr>
          <p:cNvSpPr txBox="1"/>
          <p:nvPr/>
        </p:nvSpPr>
        <p:spPr>
          <a:xfrm>
            <a:off x="2214768" y="5329321"/>
            <a:ext cx="635182" cy="184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r>
              <a:rPr lang="en-US" sz="1200" dirty="0">
                <a:solidFill>
                  <a:srgbClr val="000000"/>
                </a:solidFill>
                <a:latin typeface="+mj-lt"/>
                <a:cs typeface="Arial" panose="020B0604020202020204" pitchFamily="34" charset="0"/>
              </a:rPr>
              <a:t>Due </a:t>
            </a:r>
            <a:r>
              <a:rPr lang="en-US" sz="1200" dirty="0">
                <a:solidFill>
                  <a:schemeClr val="tx1"/>
                </a:solidFill>
                <a:latin typeface="+mj-lt"/>
                <a:cs typeface="Arial" panose="020B0604020202020204" pitchFamily="34" charset="0"/>
              </a:rPr>
              <a:t>7/12</a:t>
            </a:r>
          </a:p>
        </p:txBody>
      </p:sp>
      <p:cxnSp>
        <p:nvCxnSpPr>
          <p:cNvPr id="181" name="Straight Connector 180">
            <a:extLst>
              <a:ext uri="{FF2B5EF4-FFF2-40B4-BE49-F238E27FC236}">
                <a16:creationId xmlns:a16="http://schemas.microsoft.com/office/drawing/2014/main" id="{2F67E389-621C-403F-AB24-E626FFEAA7D3}"/>
              </a:ext>
            </a:extLst>
          </p:cNvPr>
          <p:cNvCxnSpPr>
            <a:cxnSpLocks/>
          </p:cNvCxnSpPr>
          <p:nvPr/>
        </p:nvCxnSpPr>
        <p:spPr>
          <a:xfrm>
            <a:off x="2522200" y="5612928"/>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3336BE10-19BA-4665-8C36-DD5228B700C9}"/>
              </a:ext>
            </a:extLst>
          </p:cNvPr>
          <p:cNvCxnSpPr>
            <a:cxnSpLocks/>
          </p:cNvCxnSpPr>
          <p:nvPr/>
        </p:nvCxnSpPr>
        <p:spPr>
          <a:xfrm>
            <a:off x="7329265" y="5612928"/>
            <a:ext cx="0" cy="269146"/>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EBED1C4-EE45-4C5D-8895-068EB6A58592}"/>
              </a:ext>
            </a:extLst>
          </p:cNvPr>
          <p:cNvCxnSpPr>
            <a:cxnSpLocks/>
          </p:cNvCxnSpPr>
          <p:nvPr/>
        </p:nvCxnSpPr>
        <p:spPr>
          <a:xfrm>
            <a:off x="7469121" y="5612928"/>
            <a:ext cx="0" cy="619266"/>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1BDB5E00-1BB0-4464-AC48-2C5AAB23241F}"/>
              </a:ext>
            </a:extLst>
          </p:cNvPr>
          <p:cNvSpPr txBox="1"/>
          <p:nvPr/>
        </p:nvSpPr>
        <p:spPr>
          <a:xfrm>
            <a:off x="8248651" y="4702206"/>
            <a:ext cx="3541342" cy="192689"/>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582930"/>
            <a:r>
              <a:rPr lang="en-US" sz="1200" kern="0" dirty="0">
                <a:solidFill>
                  <a:srgbClr val="FFFFFF"/>
                </a:solidFill>
                <a:latin typeface="+mj-lt"/>
              </a:rPr>
              <a:t>Timeline approximate unless exact date specified</a:t>
            </a:r>
          </a:p>
        </p:txBody>
      </p:sp>
      <p:sp>
        <p:nvSpPr>
          <p:cNvPr id="59" name="TextBox 58">
            <a:extLst>
              <a:ext uri="{FF2B5EF4-FFF2-40B4-BE49-F238E27FC236}">
                <a16:creationId xmlns:a16="http://schemas.microsoft.com/office/drawing/2014/main" id="{4E5F3EA0-3A3A-474C-8CB7-AF0F59C13E7C}"/>
              </a:ext>
            </a:extLst>
          </p:cNvPr>
          <p:cNvSpPr txBox="1"/>
          <p:nvPr/>
        </p:nvSpPr>
        <p:spPr>
          <a:xfrm>
            <a:off x="6561573" y="4931748"/>
            <a:ext cx="1868994" cy="63248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nchor="b">
            <a:spAutoFit/>
          </a:bodyPr>
          <a:lstStyle/>
          <a:p>
            <a:pPr>
              <a:spcAft>
                <a:spcPts val="1000"/>
              </a:spcAft>
            </a:pPr>
            <a:r>
              <a:rPr lang="en-US" sz="1200" dirty="0">
                <a:solidFill>
                  <a:srgbClr val="000000"/>
                </a:solidFill>
                <a:latin typeface="+mj-lt"/>
                <a:cs typeface="Arial" panose="020B0604020202020204" pitchFamily="34" charset="0"/>
              </a:rPr>
              <a:t>Competitive Program launches within 1 month of first Capacity awards</a:t>
            </a:r>
          </a:p>
        </p:txBody>
      </p:sp>
    </p:spTree>
    <p:extLst>
      <p:ext uri="{BB962C8B-B14F-4D97-AF65-F5344CB8AC3E}">
        <p14:creationId xmlns:p14="http://schemas.microsoft.com/office/powerpoint/2010/main" val="1201920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normAutofit fontScale="90000"/>
          </a:bodyPr>
          <a:lstStyle/>
          <a:p>
            <a:pPr defTabSz="1219170">
              <a:buSzPts val="3000"/>
              <a:defRPr/>
            </a:pPr>
            <a:r>
              <a:rPr lang="en-US" cap="none" dirty="0">
                <a:solidFill>
                  <a:srgbClr val="164484"/>
                </a:solidFill>
                <a:latin typeface="Arial" panose="020B0604020202020204" pitchFamily="34" charset="0"/>
                <a:cs typeface="Arial" panose="020B0604020202020204" pitchFamily="34" charset="0"/>
              </a:rPr>
              <a:t>Technical amendments and new funding will strengthen current Tribal Broadband Connectivity Program </a:t>
            </a:r>
            <a:endParaRPr lang="en-US" cap="none" dirty="0">
              <a:solidFill>
                <a:srgbClr val="164484"/>
              </a:solidFill>
              <a:latin typeface="Arial" panose="020B060402020202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BD815139-9206-48B1-B267-4EE21160DCE4}"/>
              </a:ext>
            </a:extLst>
          </p:cNvPr>
          <p:cNvSpPr/>
          <p:nvPr/>
        </p:nvSpPr>
        <p:spPr>
          <a:xfrm>
            <a:off x="3888533" y="1420383"/>
            <a:ext cx="7973430" cy="2489545"/>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44462" lvl="1">
              <a:spcAft>
                <a:spcPts val="400"/>
              </a:spcAft>
              <a:buClr>
                <a:srgbClr val="575454"/>
              </a:buClr>
              <a:buSzPct val="100000"/>
            </a:pPr>
            <a:endParaRPr lang="en-US" sz="600" dirty="0">
              <a:solidFill>
                <a:srgbClr val="948A54"/>
              </a:solidFill>
              <a:latin typeface="Arial" panose="020B0604020202020204" pitchFamily="34" charset="0"/>
              <a:cs typeface="Arial" panose="020B0604020202020204" pitchFamily="34" charset="0"/>
            </a:endParaRPr>
          </a:p>
          <a:p>
            <a:pPr marL="144462" lvl="1">
              <a:spcAft>
                <a:spcPts val="400"/>
              </a:spcAft>
              <a:buClr>
                <a:srgbClr val="575454"/>
              </a:buClr>
              <a:buSzPct val="100000"/>
            </a:pPr>
            <a:r>
              <a:rPr lang="en-US" sz="1600" b="1" dirty="0">
                <a:solidFill>
                  <a:srgbClr val="164484"/>
                </a:solidFill>
                <a:latin typeface="Arial" panose="020B0604020202020204" pitchFamily="34" charset="0"/>
                <a:cs typeface="Arial" panose="020B0604020202020204" pitchFamily="34" charset="0"/>
              </a:rPr>
              <a:t>New funding will be used for additional new grants and to fully fund grants from first round of awards</a:t>
            </a:r>
          </a:p>
          <a:p>
            <a:pPr marL="144462" lvl="1">
              <a:spcAft>
                <a:spcPts val="400"/>
              </a:spcAft>
              <a:buClr>
                <a:srgbClr val="948A54"/>
              </a:buClr>
            </a:pPr>
            <a:r>
              <a:rPr lang="en-US" sz="1600" b="1" dirty="0">
                <a:solidFill>
                  <a:srgbClr val="164484"/>
                </a:solidFill>
                <a:latin typeface="Arial" panose="020B0604020202020204" pitchFamily="34" charset="0"/>
                <a:cs typeface="Arial" panose="020B0604020202020204" pitchFamily="34" charset="0"/>
              </a:rPr>
              <a:t>Amendments to original program:</a:t>
            </a:r>
          </a:p>
          <a:p>
            <a:pPr marL="259200" lvl="1" indent="-172800">
              <a:spcAft>
                <a:spcPts val="400"/>
              </a:spcAft>
              <a:buClr>
                <a:srgbClr val="0A3161"/>
              </a:buClr>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Relaxes time requirements of original program </a:t>
            </a:r>
          </a:p>
          <a:p>
            <a:pPr marL="259200" lvl="1" indent="-172800">
              <a:spcAft>
                <a:spcPts val="400"/>
              </a:spcAft>
              <a:buClr>
                <a:srgbClr val="0A3161"/>
              </a:buClr>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Allows infrastructure grantees to spend up to 2.5% of the total project cost for related planning, feasibility</a:t>
            </a:r>
            <a:r>
              <a:rPr lang="en-US" sz="1600" dirty="0">
                <a:solidFill>
                  <a:srgbClr val="FF0000"/>
                </a:solidFill>
                <a:latin typeface="Arial" panose="020B0604020202020204" pitchFamily="34" charset="0"/>
                <a:cs typeface="Arial" panose="020B0604020202020204" pitchFamily="34" charset="0"/>
              </a:rPr>
              <a:t>,</a:t>
            </a:r>
            <a:r>
              <a:rPr lang="en-US" sz="1600" dirty="0">
                <a:solidFill>
                  <a:srgbClr val="000000"/>
                </a:solidFill>
                <a:latin typeface="Arial" panose="020B0604020202020204" pitchFamily="34" charset="0"/>
                <a:cs typeface="Arial" panose="020B0604020202020204" pitchFamily="34" charset="0"/>
              </a:rPr>
              <a:t> and sustainability studies</a:t>
            </a:r>
          </a:p>
          <a:p>
            <a:pPr marL="259200" lvl="1" indent="-172800">
              <a:spcAft>
                <a:spcPts val="400"/>
              </a:spcAft>
              <a:buClr>
                <a:srgbClr val="0A3161"/>
              </a:buClr>
              <a:buFont typeface="Trebuchet MS" panose="020B0603020202020204" pitchFamily="34" charset="0"/>
              <a:buChar char="•"/>
            </a:pPr>
            <a:r>
              <a:rPr lang="en-US" sz="1600" dirty="0">
                <a:solidFill>
                  <a:srgbClr val="000000"/>
                </a:solidFill>
                <a:latin typeface="Arial" panose="020B0604020202020204" pitchFamily="34" charset="0"/>
                <a:cs typeface="Arial" panose="020B0604020202020204" pitchFamily="34" charset="0"/>
              </a:rPr>
              <a:t>Preserves unused allocated funds for other Tribal broadband projects instead of reverting to the Treasury</a:t>
            </a:r>
          </a:p>
        </p:txBody>
      </p:sp>
      <p:sp>
        <p:nvSpPr>
          <p:cNvPr id="24" name="Rectangle 23">
            <a:extLst>
              <a:ext uri="{FF2B5EF4-FFF2-40B4-BE49-F238E27FC236}">
                <a16:creationId xmlns:a16="http://schemas.microsoft.com/office/drawing/2014/main" id="{601E22DE-45EC-4349-BC08-917CC67602C2}"/>
              </a:ext>
            </a:extLst>
          </p:cNvPr>
          <p:cNvSpPr/>
          <p:nvPr/>
        </p:nvSpPr>
        <p:spPr>
          <a:xfrm>
            <a:off x="531134" y="2555483"/>
            <a:ext cx="3115712" cy="107721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48A5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200"/>
              </a:spcBef>
              <a:buClr>
                <a:schemeClr val="bg1"/>
              </a:buClr>
              <a:buSzPct val="100000"/>
            </a:pPr>
            <a:r>
              <a:rPr lang="en-US" sz="1600" dirty="0">
                <a:solidFill>
                  <a:srgbClr val="FFFFFF"/>
                </a:solidFill>
                <a:latin typeface="Arial" panose="020B0604020202020204" pitchFamily="34" charset="0"/>
                <a:cs typeface="Arial" panose="020B0604020202020204" pitchFamily="34" charset="0"/>
              </a:rPr>
              <a:t>A program to help tribal communities expand high-speed internet access and adoption on tribal lands.</a:t>
            </a:r>
          </a:p>
        </p:txBody>
      </p:sp>
      <p:sp>
        <p:nvSpPr>
          <p:cNvPr id="29" name="TextBox 28">
            <a:extLst>
              <a:ext uri="{FF2B5EF4-FFF2-40B4-BE49-F238E27FC236}">
                <a16:creationId xmlns:a16="http://schemas.microsoft.com/office/drawing/2014/main" id="{43FB2DDF-FA0F-4037-B274-CB730D70AAFB}"/>
              </a:ext>
            </a:extLst>
          </p:cNvPr>
          <p:cNvSpPr txBox="1"/>
          <p:nvPr/>
        </p:nvSpPr>
        <p:spPr>
          <a:xfrm>
            <a:off x="6175436" y="1263357"/>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PROGRAM HIGHLIGHTS</a:t>
            </a:r>
          </a:p>
        </p:txBody>
      </p:sp>
      <p:cxnSp>
        <p:nvCxnSpPr>
          <p:cNvPr id="30" name="Straight Arrow Connector 29">
            <a:extLst>
              <a:ext uri="{FF2B5EF4-FFF2-40B4-BE49-F238E27FC236}">
                <a16:creationId xmlns:a16="http://schemas.microsoft.com/office/drawing/2014/main" id="{1E57B9E7-0DAC-4CB5-ADC4-6114A0CE48AA}"/>
              </a:ext>
            </a:extLst>
          </p:cNvPr>
          <p:cNvCxnSpPr>
            <a:cxnSpLocks/>
          </p:cNvCxnSpPr>
          <p:nvPr/>
        </p:nvCxnSpPr>
        <p:spPr>
          <a:xfrm>
            <a:off x="1133846" y="5177519"/>
            <a:ext cx="10243954" cy="266200"/>
          </a:xfrm>
          <a:prstGeom prst="straightConnector1">
            <a:avLst/>
          </a:prstGeom>
          <a:noFill/>
          <a:ln w="32385" cap="rnd" cmpd="sng" algn="ctr">
            <a:noFill/>
            <a:prstDash val="solid"/>
            <a:round/>
            <a:headEnd type="none" w="med" len="med"/>
            <a:tailEnd type="triangle" w="med" len="med"/>
          </a:ln>
          <a:effectLst/>
          <a:extLst>
            <a:ext uri="{91240B29-F687-4F45-9708-019B960494DF}">
              <a14:hiddenLine xmlns:a14="http://schemas.microsoft.com/office/drawing/2010/main" w="32385" cap="rnd" cmpd="sng" algn="ctr">
                <a:solidFill>
                  <a:srgbClr val="0A3161"/>
                </a:solidFill>
                <a:prstDash val="solid"/>
                <a:round/>
                <a:headEnd type="none" w="med" len="med"/>
                <a:tailEnd type="triangle" w="med" len="med"/>
              </a14:hiddenLine>
            </a:ext>
          </a:extLst>
        </p:spPr>
        <p:style>
          <a:lnRef idx="1">
            <a:schemeClr val="accent1"/>
          </a:lnRef>
          <a:fillRef idx="0">
            <a:schemeClr val="accent1"/>
          </a:fillRef>
          <a:effectRef idx="0">
            <a:schemeClr val="accent1"/>
          </a:effectRef>
          <a:fontRef idx="minor">
            <a:schemeClr val="tx1"/>
          </a:fontRef>
        </p:style>
      </p:cxnSp>
      <p:sp>
        <p:nvSpPr>
          <p:cNvPr id="59" name="ee4pContent1">
            <a:extLst>
              <a:ext uri="{FF2B5EF4-FFF2-40B4-BE49-F238E27FC236}">
                <a16:creationId xmlns:a16="http://schemas.microsoft.com/office/drawing/2014/main" id="{16C348B2-288F-488B-8012-92AAD00136EB}"/>
              </a:ext>
            </a:extLst>
          </p:cNvPr>
          <p:cNvSpPr txBox="1"/>
          <p:nvPr/>
        </p:nvSpPr>
        <p:spPr>
          <a:xfrm>
            <a:off x="531134" y="4330539"/>
            <a:ext cx="11274268" cy="1699421"/>
          </a:xfrm>
          <a:prstGeom prst="rect">
            <a:avLst/>
          </a:prstGeom>
          <a:solidFill>
            <a:schemeClr val="bg1"/>
          </a:solidFill>
          <a:ln w="38100" cap="rnd" cmpd="sng" algn="ctr">
            <a:solidFill>
              <a:srgbClr val="164484"/>
            </a:solidFill>
            <a:prstDash val="solid"/>
            <a:round/>
            <a:headEnd type="none" w="med" len="med"/>
            <a:tailEnd type="none" w="med" len="med"/>
          </a:ln>
        </p:spPr>
        <p:txBody>
          <a:bodyPr vert="horz" lIns="91440" tIns="1234440" rIns="9144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p>
        </p:txBody>
      </p:sp>
      <p:sp>
        <p:nvSpPr>
          <p:cNvPr id="60" name="TextBox 59">
            <a:extLst>
              <a:ext uri="{FF2B5EF4-FFF2-40B4-BE49-F238E27FC236}">
                <a16:creationId xmlns:a16="http://schemas.microsoft.com/office/drawing/2014/main" id="{5227A26C-C882-40E7-8F59-B298F7394FD8}"/>
              </a:ext>
            </a:extLst>
          </p:cNvPr>
          <p:cNvSpPr txBox="1"/>
          <p:nvPr/>
        </p:nvSpPr>
        <p:spPr>
          <a:xfrm>
            <a:off x="4468456" y="4186668"/>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ESTIMATED TIMELINE</a:t>
            </a:r>
          </a:p>
        </p:txBody>
      </p:sp>
      <p:sp>
        <p:nvSpPr>
          <p:cNvPr id="61" name="TextBox 60">
            <a:extLst>
              <a:ext uri="{FF2B5EF4-FFF2-40B4-BE49-F238E27FC236}">
                <a16:creationId xmlns:a16="http://schemas.microsoft.com/office/drawing/2014/main" id="{FB74BCDF-4CFC-4AD8-954E-C039F3AEDE9A}"/>
              </a:ext>
            </a:extLst>
          </p:cNvPr>
          <p:cNvSpPr txBox="1"/>
          <p:nvPr/>
        </p:nvSpPr>
        <p:spPr>
          <a:xfrm>
            <a:off x="8248651" y="4244212"/>
            <a:ext cx="3541342" cy="192689"/>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582930"/>
            <a:r>
              <a:rPr lang="en-US" sz="1200" kern="0" dirty="0">
                <a:solidFill>
                  <a:srgbClr val="FFFFFF"/>
                </a:solidFill>
                <a:latin typeface="+mj-lt"/>
              </a:rPr>
              <a:t>Timeline approximate unless exact date specified</a:t>
            </a:r>
          </a:p>
        </p:txBody>
      </p:sp>
      <p:cxnSp>
        <p:nvCxnSpPr>
          <p:cNvPr id="62" name="Straight Arrow Connector 61">
            <a:extLst>
              <a:ext uri="{FF2B5EF4-FFF2-40B4-BE49-F238E27FC236}">
                <a16:creationId xmlns:a16="http://schemas.microsoft.com/office/drawing/2014/main" id="{DA1222C2-8D44-47E9-B486-A297071A0838}"/>
              </a:ext>
            </a:extLst>
          </p:cNvPr>
          <p:cNvCxnSpPr>
            <a:cxnSpLocks/>
          </p:cNvCxnSpPr>
          <p:nvPr/>
        </p:nvCxnSpPr>
        <p:spPr>
          <a:xfrm>
            <a:off x="831666" y="4979413"/>
            <a:ext cx="10769992"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1269E02A-65EA-4F73-9C3C-8799F316994D}"/>
              </a:ext>
            </a:extLst>
          </p:cNvPr>
          <p:cNvSpPr/>
          <p:nvPr/>
        </p:nvSpPr>
        <p:spPr>
          <a:xfrm>
            <a:off x="718107" y="4890391"/>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64" name="Oval 63">
            <a:extLst>
              <a:ext uri="{FF2B5EF4-FFF2-40B4-BE49-F238E27FC236}">
                <a16:creationId xmlns:a16="http://schemas.microsoft.com/office/drawing/2014/main" id="{F7C22B4A-45E8-4945-848B-81ABBF2CC368}"/>
              </a:ext>
            </a:extLst>
          </p:cNvPr>
          <p:cNvSpPr/>
          <p:nvPr/>
        </p:nvSpPr>
        <p:spPr>
          <a:xfrm>
            <a:off x="3288362" y="4890391"/>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65" name="Oval 64">
            <a:extLst>
              <a:ext uri="{FF2B5EF4-FFF2-40B4-BE49-F238E27FC236}">
                <a16:creationId xmlns:a16="http://schemas.microsoft.com/office/drawing/2014/main" id="{279B6B78-193F-462C-A693-81E94599AE97}"/>
              </a:ext>
            </a:extLst>
          </p:cNvPr>
          <p:cNvSpPr/>
          <p:nvPr/>
        </p:nvSpPr>
        <p:spPr>
          <a:xfrm>
            <a:off x="10999127" y="4890391"/>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66" name="Oval 65">
            <a:extLst>
              <a:ext uri="{FF2B5EF4-FFF2-40B4-BE49-F238E27FC236}">
                <a16:creationId xmlns:a16="http://schemas.microsoft.com/office/drawing/2014/main" id="{807B9E58-7C23-4A12-8EE9-8AF7996C74FC}"/>
              </a:ext>
            </a:extLst>
          </p:cNvPr>
          <p:cNvSpPr/>
          <p:nvPr/>
        </p:nvSpPr>
        <p:spPr>
          <a:xfrm>
            <a:off x="5858617" y="4890391"/>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67" name="TextBox 66">
            <a:extLst>
              <a:ext uri="{FF2B5EF4-FFF2-40B4-BE49-F238E27FC236}">
                <a16:creationId xmlns:a16="http://schemas.microsoft.com/office/drawing/2014/main" id="{9AAED41D-B381-4FAE-8E1A-1C0002BC24E8}"/>
              </a:ext>
            </a:extLst>
          </p:cNvPr>
          <p:cNvSpPr txBox="1"/>
          <p:nvPr/>
        </p:nvSpPr>
        <p:spPr>
          <a:xfrm>
            <a:off x="335042" y="4677139"/>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2</a:t>
            </a:r>
          </a:p>
        </p:txBody>
      </p:sp>
      <p:sp>
        <p:nvSpPr>
          <p:cNvPr id="68" name="TextBox 67">
            <a:extLst>
              <a:ext uri="{FF2B5EF4-FFF2-40B4-BE49-F238E27FC236}">
                <a16:creationId xmlns:a16="http://schemas.microsoft.com/office/drawing/2014/main" id="{1414A0F4-FC8A-484B-9FF7-88C9F02D5A13}"/>
              </a:ext>
            </a:extLst>
          </p:cNvPr>
          <p:cNvSpPr txBox="1"/>
          <p:nvPr/>
        </p:nvSpPr>
        <p:spPr>
          <a:xfrm>
            <a:off x="2905297" y="4677139"/>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3</a:t>
            </a:r>
          </a:p>
        </p:txBody>
      </p:sp>
      <p:sp>
        <p:nvSpPr>
          <p:cNvPr id="69" name="TextBox 68">
            <a:extLst>
              <a:ext uri="{FF2B5EF4-FFF2-40B4-BE49-F238E27FC236}">
                <a16:creationId xmlns:a16="http://schemas.microsoft.com/office/drawing/2014/main" id="{D877A1E3-5FCF-46C2-86BC-EE75F13DC1E5}"/>
              </a:ext>
            </a:extLst>
          </p:cNvPr>
          <p:cNvSpPr txBox="1"/>
          <p:nvPr/>
        </p:nvSpPr>
        <p:spPr>
          <a:xfrm>
            <a:off x="5475552" y="4677139"/>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4</a:t>
            </a:r>
          </a:p>
        </p:txBody>
      </p:sp>
      <p:sp>
        <p:nvSpPr>
          <p:cNvPr id="70" name="TextBox 69">
            <a:extLst>
              <a:ext uri="{FF2B5EF4-FFF2-40B4-BE49-F238E27FC236}">
                <a16:creationId xmlns:a16="http://schemas.microsoft.com/office/drawing/2014/main" id="{886D9802-EF96-4CF5-86B0-ED1857906437}"/>
              </a:ext>
            </a:extLst>
          </p:cNvPr>
          <p:cNvSpPr txBox="1"/>
          <p:nvPr/>
        </p:nvSpPr>
        <p:spPr>
          <a:xfrm>
            <a:off x="8045807" y="4677139"/>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5</a:t>
            </a:r>
          </a:p>
        </p:txBody>
      </p:sp>
      <p:sp>
        <p:nvSpPr>
          <p:cNvPr id="71" name="TextBox 70">
            <a:extLst>
              <a:ext uri="{FF2B5EF4-FFF2-40B4-BE49-F238E27FC236}">
                <a16:creationId xmlns:a16="http://schemas.microsoft.com/office/drawing/2014/main" id="{60C8F70F-C2F5-4FD5-88A1-61A8BBC66281}"/>
              </a:ext>
            </a:extLst>
          </p:cNvPr>
          <p:cNvSpPr txBox="1"/>
          <p:nvPr/>
        </p:nvSpPr>
        <p:spPr>
          <a:xfrm>
            <a:off x="10616060" y="4677139"/>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6+</a:t>
            </a:r>
          </a:p>
        </p:txBody>
      </p:sp>
      <p:sp>
        <p:nvSpPr>
          <p:cNvPr id="72" name="Oval 71">
            <a:extLst>
              <a:ext uri="{FF2B5EF4-FFF2-40B4-BE49-F238E27FC236}">
                <a16:creationId xmlns:a16="http://schemas.microsoft.com/office/drawing/2014/main" id="{96E76ACA-81D3-4D9B-A2B3-0C26AC29BC47}"/>
              </a:ext>
            </a:extLst>
          </p:cNvPr>
          <p:cNvSpPr/>
          <p:nvPr/>
        </p:nvSpPr>
        <p:spPr>
          <a:xfrm>
            <a:off x="8428872" y="4890391"/>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76" name="Rectangle 75">
            <a:extLst>
              <a:ext uri="{FF2B5EF4-FFF2-40B4-BE49-F238E27FC236}">
                <a16:creationId xmlns:a16="http://schemas.microsoft.com/office/drawing/2014/main" id="{98E74459-1CA6-4301-8679-744D5388FC60}"/>
              </a:ext>
            </a:extLst>
          </p:cNvPr>
          <p:cNvSpPr/>
          <p:nvPr/>
        </p:nvSpPr>
        <p:spPr>
          <a:xfrm>
            <a:off x="531134" y="1420383"/>
            <a:ext cx="3115712" cy="85917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buSzPct val="100000"/>
            </a:pPr>
            <a:r>
              <a:rPr lang="en-US" sz="2000" b="1" dirty="0">
                <a:solidFill>
                  <a:srgbClr val="FFFFFF"/>
                </a:solidFill>
                <a:latin typeface="Arial" panose="020B0604020202020204" pitchFamily="34" charset="0"/>
                <a:cs typeface="Arial" panose="020B0604020202020204" pitchFamily="34" charset="0"/>
              </a:rPr>
              <a:t>Funding pool</a:t>
            </a:r>
          </a:p>
          <a:p>
            <a:pPr algn="ctr">
              <a:spcBef>
                <a:spcPts val="200"/>
              </a:spcBef>
              <a:buSzPct val="100000"/>
            </a:pPr>
            <a:r>
              <a:rPr lang="en-US" sz="2000" dirty="0">
                <a:solidFill>
                  <a:srgbClr val="FFFFFF"/>
                </a:solidFill>
                <a:latin typeface="Arial" panose="020B0604020202020204" pitchFamily="34" charset="0"/>
                <a:cs typeface="Arial" panose="020B0604020202020204" pitchFamily="34" charset="0"/>
              </a:rPr>
              <a:t>$2.00B</a:t>
            </a:r>
          </a:p>
        </p:txBody>
      </p:sp>
      <p:sp>
        <p:nvSpPr>
          <p:cNvPr id="84" name="Arrow: Chevron 83">
            <a:extLst>
              <a:ext uri="{FF2B5EF4-FFF2-40B4-BE49-F238E27FC236}">
                <a16:creationId xmlns:a16="http://schemas.microsoft.com/office/drawing/2014/main" id="{D14EFF0E-0102-45A2-A71A-77F18790ACAF}"/>
              </a:ext>
            </a:extLst>
          </p:cNvPr>
          <p:cNvSpPr/>
          <p:nvPr/>
        </p:nvSpPr>
        <p:spPr>
          <a:xfrm>
            <a:off x="4476565" y="5177519"/>
            <a:ext cx="7125092"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Implementation</a:t>
            </a:r>
          </a:p>
        </p:txBody>
      </p:sp>
      <p:sp>
        <p:nvSpPr>
          <p:cNvPr id="85" name="Arrow: Pentagon 84">
            <a:extLst>
              <a:ext uri="{FF2B5EF4-FFF2-40B4-BE49-F238E27FC236}">
                <a16:creationId xmlns:a16="http://schemas.microsoft.com/office/drawing/2014/main" id="{DECC5BAD-C3BD-4836-9451-640819A43988}"/>
              </a:ext>
            </a:extLst>
          </p:cNvPr>
          <p:cNvSpPr/>
          <p:nvPr/>
        </p:nvSpPr>
        <p:spPr>
          <a:xfrm>
            <a:off x="831666" y="5177519"/>
            <a:ext cx="1729165" cy="266200"/>
          </a:xfrm>
          <a:prstGeom prst="homePlate">
            <a:avLst/>
          </a:prstGeom>
          <a:solidFill>
            <a:srgbClr val="164484"/>
          </a:solidFill>
          <a:ln w="8096" cap="rnd" cmpd="sng" algn="ctr">
            <a:noFill/>
            <a:prstDash val="solid"/>
            <a:round/>
            <a:headEnd type="none" w="med" len="med"/>
            <a:tailEnd type="none" w="med" len="med"/>
          </a:ln>
          <a:effectLst/>
          <a:extLst>
            <a:ext uri="{91240B29-F687-4F45-9708-019B960494DF}">
              <a14:hiddenLine xmlns:a14="http://schemas.microsoft.com/office/drawing/2010/main" w="8096" cap="rnd"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Rolling funding</a:t>
            </a:r>
          </a:p>
        </p:txBody>
      </p:sp>
      <p:sp>
        <p:nvSpPr>
          <p:cNvPr id="86" name="Arrow: Chevron 85">
            <a:extLst>
              <a:ext uri="{FF2B5EF4-FFF2-40B4-BE49-F238E27FC236}">
                <a16:creationId xmlns:a16="http://schemas.microsoft.com/office/drawing/2014/main" id="{4BD0EBBB-F3F1-4AF5-A487-99CC65FAF492}"/>
              </a:ext>
            </a:extLst>
          </p:cNvPr>
          <p:cNvSpPr/>
          <p:nvPr/>
        </p:nvSpPr>
        <p:spPr>
          <a:xfrm>
            <a:off x="2578045" y="5177519"/>
            <a:ext cx="1883363"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Tribal </a:t>
            </a:r>
            <a:r>
              <a:rPr lang="en-US" sz="1200" kern="0" dirty="0" err="1">
                <a:solidFill>
                  <a:prstClr val="white"/>
                </a:solidFill>
                <a:latin typeface="+mj-lt"/>
              </a:rPr>
              <a:t>BIL</a:t>
            </a:r>
            <a:r>
              <a:rPr lang="en-US" sz="1200" kern="0" dirty="0">
                <a:solidFill>
                  <a:prstClr val="white"/>
                </a:solidFill>
                <a:latin typeface="+mj-lt"/>
              </a:rPr>
              <a:t> apps</a:t>
            </a:r>
          </a:p>
        </p:txBody>
      </p:sp>
      <p:sp>
        <p:nvSpPr>
          <p:cNvPr id="87" name="Arrow: Chevron 86">
            <a:extLst>
              <a:ext uri="{FF2B5EF4-FFF2-40B4-BE49-F238E27FC236}">
                <a16:creationId xmlns:a16="http://schemas.microsoft.com/office/drawing/2014/main" id="{93FD942A-7FC9-4DCC-9221-84D4BFD42EA7}"/>
              </a:ext>
            </a:extLst>
          </p:cNvPr>
          <p:cNvSpPr/>
          <p:nvPr/>
        </p:nvSpPr>
        <p:spPr>
          <a:xfrm>
            <a:off x="2578045" y="5487020"/>
            <a:ext cx="902361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prstClr val="white"/>
                </a:solidFill>
                <a:latin typeface="+mj-lt"/>
              </a:rPr>
              <a:t>Implementation</a:t>
            </a:r>
          </a:p>
        </p:txBody>
      </p:sp>
    </p:spTree>
    <p:extLst>
      <p:ext uri="{BB962C8B-B14F-4D97-AF65-F5344CB8AC3E}">
        <p14:creationId xmlns:p14="http://schemas.microsoft.com/office/powerpoint/2010/main" val="1942722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0051" y="387882"/>
            <a:ext cx="9976848" cy="566735"/>
          </a:xfrm>
          <a:prstGeom prst="rect">
            <a:avLst/>
          </a:prstGeom>
        </p:spPr>
        <p:txBody>
          <a:bodyPr vert="horz" anchor="t">
            <a:normAutofit fontScale="90000"/>
          </a:bodyPr>
          <a:lstStyle/>
          <a:p>
            <a:pPr defTabSz="1219170">
              <a:buSzPts val="3000"/>
              <a:defRPr/>
            </a:pPr>
            <a:r>
              <a:rPr lang="en-US" cap="none" dirty="0">
                <a:solidFill>
                  <a:srgbClr val="164484"/>
                </a:solidFill>
                <a:latin typeface="Arial" panose="020B0604020202020204" pitchFamily="34" charset="0"/>
                <a:ea typeface="+mn-ea"/>
                <a:cs typeface="Arial" panose="020B0604020202020204" pitchFamily="34" charset="0"/>
              </a:rPr>
              <a:t>Middle Mile Grant Program will invest in the construction, improvement or acquisition of middle mile infrastructure</a:t>
            </a:r>
          </a:p>
        </p:txBody>
      </p:sp>
      <p:sp>
        <p:nvSpPr>
          <p:cNvPr id="3" name="Rectangle 2">
            <a:extLst>
              <a:ext uri="{FF2B5EF4-FFF2-40B4-BE49-F238E27FC236}">
                <a16:creationId xmlns:a16="http://schemas.microsoft.com/office/drawing/2014/main" id="{E578736E-8DF2-4F0A-B399-C6B2682F61CF}"/>
              </a:ext>
            </a:extLst>
          </p:cNvPr>
          <p:cNvSpPr/>
          <p:nvPr/>
        </p:nvSpPr>
        <p:spPr>
          <a:xfrm>
            <a:off x="531134" y="1462857"/>
            <a:ext cx="3115712" cy="85917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48A5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200"/>
              </a:spcBef>
              <a:buSzPct val="100000"/>
            </a:pPr>
            <a:r>
              <a:rPr lang="en-US" sz="2000" b="1" dirty="0">
                <a:solidFill>
                  <a:srgbClr val="FFFFFF"/>
                </a:solidFill>
                <a:latin typeface="Arial" panose="020B0604020202020204" pitchFamily="34" charset="0"/>
                <a:cs typeface="Arial" panose="020B0604020202020204" pitchFamily="34" charset="0"/>
              </a:rPr>
              <a:t>Funding pool</a:t>
            </a:r>
          </a:p>
          <a:p>
            <a:pPr algn="ctr">
              <a:spcBef>
                <a:spcPts val="200"/>
              </a:spcBef>
              <a:buSzPct val="100000"/>
            </a:pPr>
            <a:r>
              <a:rPr lang="en-US" sz="2000" dirty="0">
                <a:solidFill>
                  <a:srgbClr val="FFFFFF"/>
                </a:solidFill>
                <a:latin typeface="Arial" panose="020B0604020202020204" pitchFamily="34" charset="0"/>
                <a:cs typeface="Arial" panose="020B0604020202020204" pitchFamily="34" charset="0"/>
              </a:rPr>
              <a:t>$1.00B</a:t>
            </a:r>
          </a:p>
        </p:txBody>
      </p:sp>
      <p:sp>
        <p:nvSpPr>
          <p:cNvPr id="40" name="Rectangle 39">
            <a:extLst>
              <a:ext uri="{FF2B5EF4-FFF2-40B4-BE49-F238E27FC236}">
                <a16:creationId xmlns:a16="http://schemas.microsoft.com/office/drawing/2014/main" id="{BD815139-9206-48B1-B267-4EE21160DCE4}"/>
              </a:ext>
            </a:extLst>
          </p:cNvPr>
          <p:cNvSpPr/>
          <p:nvPr/>
        </p:nvSpPr>
        <p:spPr>
          <a:xfrm>
            <a:off x="3888533" y="1462858"/>
            <a:ext cx="7973430" cy="3170448"/>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200"/>
              </a:spcBef>
              <a:spcAft>
                <a:spcPts val="600"/>
              </a:spcAft>
              <a:buSzPct val="100000"/>
            </a:pPr>
            <a:endParaRPr lang="en-US" sz="100" b="1" dirty="0">
              <a:solidFill>
                <a:srgbClr val="164484"/>
              </a:solidFill>
              <a:latin typeface="Arial" panose="020B0604020202020204" pitchFamily="34" charset="0"/>
              <a:cs typeface="Arial" panose="020B0604020202020204" pitchFamily="34" charset="0"/>
            </a:endParaRPr>
          </a:p>
          <a:p>
            <a:pPr>
              <a:spcBef>
                <a:spcPts val="200"/>
              </a:spcBef>
              <a:spcAft>
                <a:spcPts val="600"/>
              </a:spcAft>
              <a:buSzPct val="100000"/>
            </a:pPr>
            <a:r>
              <a:rPr lang="en-US" sz="1600" b="1" dirty="0">
                <a:solidFill>
                  <a:srgbClr val="164484"/>
                </a:solidFill>
                <a:latin typeface="Arial" panose="020B0604020202020204" pitchFamily="34" charset="0"/>
                <a:cs typeface="Arial" panose="020B0604020202020204" pitchFamily="34" charset="0"/>
              </a:rPr>
              <a:t>Middle mile infrastructure refers to </a:t>
            </a:r>
            <a:r>
              <a:rPr lang="en-US" sz="1600" dirty="0">
                <a:solidFill>
                  <a:srgbClr val="000000"/>
                </a:solidFill>
                <a:latin typeface="Arial" panose="020B0604020202020204" pitchFamily="34" charset="0"/>
                <a:cs typeface="Arial" panose="020B0604020202020204" pitchFamily="34" charset="0"/>
              </a:rPr>
              <a:t>the mid-section of Internet infrastructure that carries large amounts of data at high speeds over long distances and connects the "backbone" of Internet infrastructure to the "last mile", which connects to end users</a:t>
            </a:r>
          </a:p>
          <a:p>
            <a:pPr>
              <a:spcBef>
                <a:spcPts val="200"/>
              </a:spcBef>
              <a:spcAft>
                <a:spcPts val="600"/>
              </a:spcAft>
              <a:buSzPct val="100000"/>
            </a:pPr>
            <a:r>
              <a:rPr lang="en-US" sz="1600" b="1" dirty="0">
                <a:solidFill>
                  <a:srgbClr val="164484"/>
                </a:solidFill>
                <a:latin typeface="Arial" panose="020B0604020202020204" pitchFamily="34" charset="0"/>
                <a:cs typeface="Arial" panose="020B0604020202020204" pitchFamily="34" charset="0"/>
              </a:rPr>
              <a:t>Entities eligible to apply include a wide variety of entities</a:t>
            </a:r>
            <a:r>
              <a:rPr lang="en-US" sz="1600" dirty="0">
                <a:solidFill>
                  <a:srgbClr val="000000"/>
                </a:solidFill>
                <a:latin typeface="Arial" panose="020B0604020202020204" pitchFamily="34" charset="0"/>
                <a:cs typeface="Arial" panose="020B0604020202020204" pitchFamily="34" charset="0"/>
              </a:rPr>
              <a:t>, incl. but not limited to government entities, utilities, companies, and non-profits that provide Internet services</a:t>
            </a:r>
          </a:p>
          <a:p>
            <a:pPr>
              <a:spcBef>
                <a:spcPts val="200"/>
              </a:spcBef>
              <a:spcAft>
                <a:spcPts val="600"/>
              </a:spcAft>
              <a:buSzPct val="100000"/>
            </a:pPr>
            <a:r>
              <a:rPr lang="en-US" sz="1600" b="1" dirty="0">
                <a:solidFill>
                  <a:srgbClr val="164484"/>
                </a:solidFill>
                <a:latin typeface="Arial" panose="020B0604020202020204" pitchFamily="34" charset="0"/>
                <a:cs typeface="Arial" panose="020B0604020202020204" pitchFamily="34" charset="0"/>
              </a:rPr>
              <a:t>Example uses of funds:</a:t>
            </a:r>
          </a:p>
          <a:p>
            <a:pPr>
              <a:spcBef>
                <a:spcPts val="200"/>
              </a:spcBef>
              <a:spcAft>
                <a:spcPts val="600"/>
              </a:spcAft>
              <a:buSzPct val="100000"/>
            </a:pPr>
            <a:endParaRPr lang="en-US" sz="1600" dirty="0">
              <a:solidFill>
                <a:srgbClr val="164484"/>
              </a:solidFill>
              <a:latin typeface="Arial" panose="020B0604020202020204" pitchFamily="34" charset="0"/>
              <a:cs typeface="Arial" panose="020B0604020202020204" pitchFamily="34" charset="0"/>
            </a:endParaRPr>
          </a:p>
          <a:p>
            <a:pPr>
              <a:spcBef>
                <a:spcPts val="200"/>
              </a:spcBef>
              <a:spcAft>
                <a:spcPts val="600"/>
              </a:spcAft>
              <a:buSzPct val="100000"/>
            </a:pPr>
            <a:endParaRPr lang="en-US" sz="1600" dirty="0">
              <a:solidFill>
                <a:srgbClr val="164484"/>
              </a:solidFill>
              <a:latin typeface="Arial" panose="020B0604020202020204" pitchFamily="34" charset="0"/>
              <a:cs typeface="Arial" panose="020B0604020202020204" pitchFamily="34" charset="0"/>
            </a:endParaRPr>
          </a:p>
          <a:p>
            <a:pPr>
              <a:spcBef>
                <a:spcPts val="200"/>
              </a:spcBef>
              <a:spcAft>
                <a:spcPts val="600"/>
              </a:spcAft>
              <a:buSzPct val="100000"/>
            </a:pPr>
            <a:endParaRPr lang="en-US" sz="1600" dirty="0">
              <a:solidFill>
                <a:srgbClr val="164484"/>
              </a:solidFill>
              <a:latin typeface="Arial" panose="020B0604020202020204" pitchFamily="34" charset="0"/>
              <a:cs typeface="Arial" panose="020B0604020202020204" pitchFamily="34" charset="0"/>
            </a:endParaRPr>
          </a:p>
          <a:p>
            <a:pPr>
              <a:spcBef>
                <a:spcPts val="200"/>
              </a:spcBef>
              <a:spcAft>
                <a:spcPts val="600"/>
              </a:spcAft>
              <a:buSzPct val="100000"/>
            </a:pPr>
            <a:endParaRPr lang="en-US" sz="1200" dirty="0">
              <a:solidFill>
                <a:srgbClr val="7F7F7F"/>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601E22DE-45EC-4349-BC08-917CC67602C2}"/>
              </a:ext>
            </a:extLst>
          </p:cNvPr>
          <p:cNvSpPr/>
          <p:nvPr/>
        </p:nvSpPr>
        <p:spPr>
          <a:xfrm>
            <a:off x="531134" y="2555483"/>
            <a:ext cx="3115712" cy="1077218"/>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48A5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l" defTabSz="914400" rtl="0" eaLnBrk="1" fontAlgn="auto" latinLnBrk="0" hangingPunct="1">
              <a:lnSpc>
                <a:spcPct val="100000"/>
              </a:lnSpc>
              <a:spcBef>
                <a:spcPts val="600"/>
              </a:spcBef>
              <a:spcAft>
                <a:spcPts val="0"/>
              </a:spcAft>
              <a:buClr>
                <a:prstClr val="white"/>
              </a:buClr>
              <a:buSzPct val="100000"/>
              <a:tabLst/>
              <a:defRPr/>
            </a:pPr>
            <a:r>
              <a:rPr lang="en-US" sz="1600" dirty="0"/>
              <a:t>A program to expand middle mile infrastructure, to reduce the cost of connecting unserved and underserved areas.</a:t>
            </a:r>
          </a:p>
        </p:txBody>
      </p:sp>
      <p:sp>
        <p:nvSpPr>
          <p:cNvPr id="29" name="TextBox 28">
            <a:extLst>
              <a:ext uri="{FF2B5EF4-FFF2-40B4-BE49-F238E27FC236}">
                <a16:creationId xmlns:a16="http://schemas.microsoft.com/office/drawing/2014/main" id="{43FB2DDF-FA0F-4037-B274-CB730D70AAFB}"/>
              </a:ext>
            </a:extLst>
          </p:cNvPr>
          <p:cNvSpPr txBox="1"/>
          <p:nvPr/>
        </p:nvSpPr>
        <p:spPr>
          <a:xfrm>
            <a:off x="6175436" y="1301274"/>
            <a:ext cx="3399624" cy="323165"/>
          </a:xfrm>
          <a:prstGeom prst="rect">
            <a:avLst/>
          </a:prstGeom>
          <a:solidFill>
            <a:srgbClr val="FFFFFF"/>
          </a:solidFill>
        </p:spPr>
        <p:txBody>
          <a:bodyPr vert="horz" wrap="square" lIns="0" tIns="0" rIns="0" bIns="0" rtlCol="0">
            <a:spAutoFit/>
          </a:bodyPr>
          <a:lstStyle/>
          <a:p>
            <a:pPr algn="ctr">
              <a:spcBef>
                <a:spcPts val="200"/>
              </a:spcBef>
              <a:buSzPct val="100000"/>
            </a:pPr>
            <a:r>
              <a:rPr lang="en-US" sz="2100" b="1" dirty="0">
                <a:solidFill>
                  <a:srgbClr val="164484"/>
                </a:solidFill>
                <a:latin typeface="Arial" panose="020B0604020202020204" pitchFamily="34" charset="0"/>
                <a:cs typeface="Arial" panose="020B0604020202020204" pitchFamily="34" charset="0"/>
              </a:rPr>
              <a:t>PROGRAM HIGHLIGHTS</a:t>
            </a:r>
          </a:p>
        </p:txBody>
      </p:sp>
      <p:graphicFrame>
        <p:nvGraphicFramePr>
          <p:cNvPr id="59" name="Table 13">
            <a:extLst>
              <a:ext uri="{FF2B5EF4-FFF2-40B4-BE49-F238E27FC236}">
                <a16:creationId xmlns:a16="http://schemas.microsoft.com/office/drawing/2014/main" id="{B9F3E97D-9750-438C-8E03-556A5B62C7A4}"/>
              </a:ext>
            </a:extLst>
          </p:cNvPr>
          <p:cNvGraphicFramePr>
            <a:graphicFrameLocks noGrp="1"/>
          </p:cNvGraphicFramePr>
          <p:nvPr>
            <p:extLst>
              <p:ext uri="{D42A27DB-BD31-4B8C-83A1-F6EECF244321}">
                <p14:modId xmlns:p14="http://schemas.microsoft.com/office/powerpoint/2010/main" val="2611119747"/>
              </p:ext>
            </p:extLst>
          </p:nvPr>
        </p:nvGraphicFramePr>
        <p:xfrm>
          <a:off x="3888532" y="3310223"/>
          <a:ext cx="7973432" cy="1310640"/>
        </p:xfrm>
        <a:graphic>
          <a:graphicData uri="http://schemas.openxmlformats.org/drawingml/2006/table">
            <a:tbl>
              <a:tblPr firstRow="1" bandRow="1">
                <a:tableStyleId>{2D5ABB26-0587-4C30-8999-92F81FD0307C}</a:tableStyleId>
              </a:tblPr>
              <a:tblGrid>
                <a:gridCol w="1993358">
                  <a:extLst>
                    <a:ext uri="{9D8B030D-6E8A-4147-A177-3AD203B41FA5}">
                      <a16:colId xmlns:a16="http://schemas.microsoft.com/office/drawing/2014/main" val="2049931648"/>
                    </a:ext>
                  </a:extLst>
                </a:gridCol>
                <a:gridCol w="1993358">
                  <a:extLst>
                    <a:ext uri="{9D8B030D-6E8A-4147-A177-3AD203B41FA5}">
                      <a16:colId xmlns:a16="http://schemas.microsoft.com/office/drawing/2014/main" val="1043574612"/>
                    </a:ext>
                  </a:extLst>
                </a:gridCol>
                <a:gridCol w="1993358">
                  <a:extLst>
                    <a:ext uri="{9D8B030D-6E8A-4147-A177-3AD203B41FA5}">
                      <a16:colId xmlns:a16="http://schemas.microsoft.com/office/drawing/2014/main" val="1981860895"/>
                    </a:ext>
                  </a:extLst>
                </a:gridCol>
                <a:gridCol w="1993358">
                  <a:extLst>
                    <a:ext uri="{9D8B030D-6E8A-4147-A177-3AD203B41FA5}">
                      <a16:colId xmlns:a16="http://schemas.microsoft.com/office/drawing/2014/main" val="2058810132"/>
                    </a:ext>
                  </a:extLst>
                </a:gridCol>
              </a:tblGrid>
              <a:tr h="733303">
                <a:tc>
                  <a:txBody>
                    <a:bodyPr/>
                    <a:lstStyle/>
                    <a:p>
                      <a:r>
                        <a:rPr lang="en-US" sz="1600" dirty="0">
                          <a:solidFill>
                            <a:srgbClr val="000000"/>
                          </a:solidFill>
                        </a:rPr>
                        <a:t>Construction, improvement</a:t>
                      </a:r>
                      <a:r>
                        <a:rPr lang="en-US" sz="1600" dirty="0">
                          <a:solidFill>
                            <a:srgbClr val="FF0000"/>
                          </a:solidFill>
                        </a:rPr>
                        <a:t>,</a:t>
                      </a:r>
                      <a:r>
                        <a:rPr lang="en-US" sz="1600" dirty="0">
                          <a:solidFill>
                            <a:srgbClr val="000000"/>
                          </a:solidFill>
                        </a:rPr>
                        <a:t> or acquisition of facilities and equipment</a:t>
                      </a:r>
                    </a:p>
                  </a:txBody>
                  <a:tcPr marL="274320"/>
                </a:tc>
                <a:tc>
                  <a:txBody>
                    <a:bodyPr/>
                    <a:lstStyle/>
                    <a:p>
                      <a:r>
                        <a:rPr lang="en-US" sz="1600" dirty="0">
                          <a:solidFill>
                            <a:srgbClr val="000000"/>
                          </a:solidFill>
                        </a:rPr>
                        <a:t>Engineering design, permitting</a:t>
                      </a:r>
                      <a:r>
                        <a:rPr lang="en-US" sz="1600" dirty="0">
                          <a:solidFill>
                            <a:srgbClr val="FF0000"/>
                          </a:solidFill>
                        </a:rPr>
                        <a:t>,</a:t>
                      </a:r>
                      <a:r>
                        <a:rPr lang="en-US" sz="1600" dirty="0">
                          <a:solidFill>
                            <a:srgbClr val="000000"/>
                          </a:solidFill>
                        </a:rPr>
                        <a:t> and work related to projects</a:t>
                      </a:r>
                    </a:p>
                  </a:txBody>
                  <a:tcPr marL="274320"/>
                </a:tc>
                <a:tc>
                  <a:txBody>
                    <a:bodyPr/>
                    <a:lstStyle/>
                    <a:p>
                      <a:r>
                        <a:rPr lang="en-US" sz="1600" dirty="0">
                          <a:solidFill>
                            <a:srgbClr val="000000"/>
                          </a:solidFill>
                        </a:rPr>
                        <a:t>Personnel costs, including salaries and benefits </a:t>
                      </a:r>
                    </a:p>
                  </a:txBody>
                  <a:tcPr marL="274320"/>
                </a:tc>
                <a:tc>
                  <a:txBody>
                    <a:bodyPr/>
                    <a:lstStyle/>
                    <a:p>
                      <a:r>
                        <a:rPr lang="en-US" sz="1600" dirty="0">
                          <a:solidFill>
                            <a:srgbClr val="000000"/>
                          </a:solidFill>
                        </a:rPr>
                        <a:t>Other costs necessary to program's activities</a:t>
                      </a:r>
                    </a:p>
                  </a:txBody>
                  <a:tcPr marL="274320"/>
                </a:tc>
                <a:extLst>
                  <a:ext uri="{0D108BD9-81ED-4DB2-BD59-A6C34878D82A}">
                    <a16:rowId xmlns:a16="http://schemas.microsoft.com/office/drawing/2014/main" val="2740803269"/>
                  </a:ext>
                </a:extLst>
              </a:tr>
            </a:tbl>
          </a:graphicData>
        </a:graphic>
      </p:graphicFrame>
      <p:grpSp>
        <p:nvGrpSpPr>
          <p:cNvPr id="65" name="Group 64">
            <a:extLst>
              <a:ext uri="{FF2B5EF4-FFF2-40B4-BE49-F238E27FC236}">
                <a16:creationId xmlns:a16="http://schemas.microsoft.com/office/drawing/2014/main" id="{8FE4C1FA-F020-419A-9C10-A42862C6E862}"/>
              </a:ext>
            </a:extLst>
          </p:cNvPr>
          <p:cNvGrpSpPr/>
          <p:nvPr/>
        </p:nvGrpSpPr>
        <p:grpSpPr>
          <a:xfrm>
            <a:off x="3952032" y="3399123"/>
            <a:ext cx="164393" cy="160470"/>
            <a:chOff x="4329243" y="5690404"/>
            <a:chExt cx="306910" cy="306911"/>
          </a:xfrm>
        </p:grpSpPr>
        <p:sp>
          <p:nvSpPr>
            <p:cNvPr id="66" name="Oval 14">
              <a:extLst>
                <a:ext uri="{FF2B5EF4-FFF2-40B4-BE49-F238E27FC236}">
                  <a16:creationId xmlns:a16="http://schemas.microsoft.com/office/drawing/2014/main" id="{64728475-5D37-490F-8524-229CE5F1C98E}"/>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7" name="Freeform 15">
              <a:extLst>
                <a:ext uri="{FF2B5EF4-FFF2-40B4-BE49-F238E27FC236}">
                  <a16:creationId xmlns:a16="http://schemas.microsoft.com/office/drawing/2014/main" id="{CAA3248A-B379-476A-878A-522FAAB1FAA1}"/>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8" name="Group 67">
            <a:extLst>
              <a:ext uri="{FF2B5EF4-FFF2-40B4-BE49-F238E27FC236}">
                <a16:creationId xmlns:a16="http://schemas.microsoft.com/office/drawing/2014/main" id="{51D14ABC-5761-4E71-B16D-43C18E5FE344}"/>
              </a:ext>
            </a:extLst>
          </p:cNvPr>
          <p:cNvGrpSpPr/>
          <p:nvPr/>
        </p:nvGrpSpPr>
        <p:grpSpPr>
          <a:xfrm>
            <a:off x="5945390" y="3399123"/>
            <a:ext cx="164393" cy="160470"/>
            <a:chOff x="4329243" y="5690404"/>
            <a:chExt cx="306910" cy="306911"/>
          </a:xfrm>
        </p:grpSpPr>
        <p:sp>
          <p:nvSpPr>
            <p:cNvPr id="69" name="Oval 14">
              <a:extLst>
                <a:ext uri="{FF2B5EF4-FFF2-40B4-BE49-F238E27FC236}">
                  <a16:creationId xmlns:a16="http://schemas.microsoft.com/office/drawing/2014/main" id="{53B42248-8D8B-444C-A02C-4CB516F8ABF1}"/>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0" name="Freeform 15">
              <a:extLst>
                <a:ext uri="{FF2B5EF4-FFF2-40B4-BE49-F238E27FC236}">
                  <a16:creationId xmlns:a16="http://schemas.microsoft.com/office/drawing/2014/main" id="{5E215898-3800-40D2-9A7A-B4BD5C8DFE88}"/>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1" name="Group 70">
            <a:extLst>
              <a:ext uri="{FF2B5EF4-FFF2-40B4-BE49-F238E27FC236}">
                <a16:creationId xmlns:a16="http://schemas.microsoft.com/office/drawing/2014/main" id="{8CFD7C48-A554-4E2E-9E63-291D321D1453}"/>
              </a:ext>
            </a:extLst>
          </p:cNvPr>
          <p:cNvGrpSpPr/>
          <p:nvPr/>
        </p:nvGrpSpPr>
        <p:grpSpPr>
          <a:xfrm>
            <a:off x="7938748" y="3399123"/>
            <a:ext cx="164393" cy="160470"/>
            <a:chOff x="4329243" y="5690404"/>
            <a:chExt cx="306910" cy="306911"/>
          </a:xfrm>
        </p:grpSpPr>
        <p:sp>
          <p:nvSpPr>
            <p:cNvPr id="72" name="Oval 14">
              <a:extLst>
                <a:ext uri="{FF2B5EF4-FFF2-40B4-BE49-F238E27FC236}">
                  <a16:creationId xmlns:a16="http://schemas.microsoft.com/office/drawing/2014/main" id="{7D892E36-975E-41AB-BB71-F14B5EEB4612}"/>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3" name="Freeform 15">
              <a:extLst>
                <a:ext uri="{FF2B5EF4-FFF2-40B4-BE49-F238E27FC236}">
                  <a16:creationId xmlns:a16="http://schemas.microsoft.com/office/drawing/2014/main" id="{1717694E-71B3-4126-932C-EC4267AE8656}"/>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7" name="Group 76">
            <a:extLst>
              <a:ext uri="{FF2B5EF4-FFF2-40B4-BE49-F238E27FC236}">
                <a16:creationId xmlns:a16="http://schemas.microsoft.com/office/drawing/2014/main" id="{7E4B53F5-2964-4E39-AE89-1795A756EA59}"/>
              </a:ext>
            </a:extLst>
          </p:cNvPr>
          <p:cNvGrpSpPr/>
          <p:nvPr/>
        </p:nvGrpSpPr>
        <p:grpSpPr>
          <a:xfrm>
            <a:off x="9932106" y="3399123"/>
            <a:ext cx="164393" cy="160470"/>
            <a:chOff x="4329243" y="5690404"/>
            <a:chExt cx="306910" cy="306911"/>
          </a:xfrm>
        </p:grpSpPr>
        <p:sp>
          <p:nvSpPr>
            <p:cNvPr id="78" name="Oval 14">
              <a:extLst>
                <a:ext uri="{FF2B5EF4-FFF2-40B4-BE49-F238E27FC236}">
                  <a16:creationId xmlns:a16="http://schemas.microsoft.com/office/drawing/2014/main" id="{D5EA3906-BD3C-4AC4-BAFD-6CE701314AD6}"/>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15">
              <a:extLst>
                <a:ext uri="{FF2B5EF4-FFF2-40B4-BE49-F238E27FC236}">
                  <a16:creationId xmlns:a16="http://schemas.microsoft.com/office/drawing/2014/main" id="{503CE5FD-4067-4B50-8627-B3347142FE6D}"/>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44" name="Rectangle 43">
            <a:extLst>
              <a:ext uri="{FF2B5EF4-FFF2-40B4-BE49-F238E27FC236}">
                <a16:creationId xmlns:a16="http://schemas.microsoft.com/office/drawing/2014/main" id="{0ACF6880-E61E-4086-BF51-C194D0F20237}"/>
              </a:ext>
            </a:extLst>
          </p:cNvPr>
          <p:cNvSpPr/>
          <p:nvPr/>
        </p:nvSpPr>
        <p:spPr>
          <a:xfrm>
            <a:off x="531133" y="4890523"/>
            <a:ext cx="11330829" cy="1167378"/>
          </a:xfrm>
          <a:prstGeom prst="rect">
            <a:avLst/>
          </a:prstGeom>
          <a:solidFill>
            <a:schemeClr val="bg1"/>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8925" lvl="1" indent="-287338">
              <a:spcAft>
                <a:spcPts val="600"/>
              </a:spcAft>
              <a:buClr>
                <a:srgbClr val="575454"/>
              </a:buClr>
              <a:buSzPct val="100000"/>
              <a:buFont typeface="Trebuchet MS" panose="020B0603020202020204" pitchFamily="34" charset="0"/>
              <a:buChar char="•"/>
            </a:pPr>
            <a:endParaRPr lang="en-US" sz="1600" dirty="0">
              <a:solidFill>
                <a:srgbClr val="5799D5"/>
              </a:solidFill>
              <a:latin typeface="Arial" panose="020B0604020202020204" pitchFamily="34" charset="0"/>
              <a:ea typeface="Calibri" panose="020F050202020403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DC79927C-096B-4231-B06A-6BD53D21D518}"/>
              </a:ext>
            </a:extLst>
          </p:cNvPr>
          <p:cNvSpPr txBox="1"/>
          <p:nvPr/>
        </p:nvSpPr>
        <p:spPr>
          <a:xfrm>
            <a:off x="4396189" y="4730840"/>
            <a:ext cx="3399624" cy="307777"/>
          </a:xfrm>
          <a:prstGeom prst="rect">
            <a:avLst/>
          </a:prstGeom>
          <a:solidFill>
            <a:srgbClr val="FFFFFF"/>
          </a:solid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ESTIMATED TIMELINE</a:t>
            </a:r>
          </a:p>
        </p:txBody>
      </p:sp>
      <p:cxnSp>
        <p:nvCxnSpPr>
          <p:cNvPr id="46" name="Straight Arrow Connector 45">
            <a:extLst>
              <a:ext uri="{FF2B5EF4-FFF2-40B4-BE49-F238E27FC236}">
                <a16:creationId xmlns:a16="http://schemas.microsoft.com/office/drawing/2014/main" id="{2491B2BD-A40A-4283-A1D9-70FCD3967EE8}"/>
              </a:ext>
            </a:extLst>
          </p:cNvPr>
          <p:cNvCxnSpPr>
            <a:cxnSpLocks/>
          </p:cNvCxnSpPr>
          <p:nvPr/>
        </p:nvCxnSpPr>
        <p:spPr>
          <a:xfrm>
            <a:off x="831666" y="5434236"/>
            <a:ext cx="10769992"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373E462F-6D35-4399-9E68-42C12D1CA87A}"/>
              </a:ext>
            </a:extLst>
          </p:cNvPr>
          <p:cNvSpPr/>
          <p:nvPr/>
        </p:nvSpPr>
        <p:spPr>
          <a:xfrm>
            <a:off x="718107" y="534521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49" name="Oval 48">
            <a:extLst>
              <a:ext uri="{FF2B5EF4-FFF2-40B4-BE49-F238E27FC236}">
                <a16:creationId xmlns:a16="http://schemas.microsoft.com/office/drawing/2014/main" id="{3EDDA142-989A-4FE5-A09D-7E43EB81F21F}"/>
              </a:ext>
            </a:extLst>
          </p:cNvPr>
          <p:cNvSpPr/>
          <p:nvPr/>
        </p:nvSpPr>
        <p:spPr>
          <a:xfrm>
            <a:off x="3288362" y="534521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50" name="Oval 49">
            <a:extLst>
              <a:ext uri="{FF2B5EF4-FFF2-40B4-BE49-F238E27FC236}">
                <a16:creationId xmlns:a16="http://schemas.microsoft.com/office/drawing/2014/main" id="{DA80533C-AF1B-4BCC-890E-DD0475145B0F}"/>
              </a:ext>
            </a:extLst>
          </p:cNvPr>
          <p:cNvSpPr/>
          <p:nvPr/>
        </p:nvSpPr>
        <p:spPr>
          <a:xfrm>
            <a:off x="10999127" y="534521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51" name="Oval 50">
            <a:extLst>
              <a:ext uri="{FF2B5EF4-FFF2-40B4-BE49-F238E27FC236}">
                <a16:creationId xmlns:a16="http://schemas.microsoft.com/office/drawing/2014/main" id="{F4EEDF7D-5D0F-4858-910D-D2B7B1513C67}"/>
              </a:ext>
            </a:extLst>
          </p:cNvPr>
          <p:cNvSpPr/>
          <p:nvPr/>
        </p:nvSpPr>
        <p:spPr>
          <a:xfrm>
            <a:off x="5858617" y="534521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52" name="TextBox 51">
            <a:extLst>
              <a:ext uri="{FF2B5EF4-FFF2-40B4-BE49-F238E27FC236}">
                <a16:creationId xmlns:a16="http://schemas.microsoft.com/office/drawing/2014/main" id="{98394A2B-3441-474C-BC8D-79C88632FFDC}"/>
              </a:ext>
            </a:extLst>
          </p:cNvPr>
          <p:cNvSpPr txBox="1"/>
          <p:nvPr/>
        </p:nvSpPr>
        <p:spPr>
          <a:xfrm>
            <a:off x="335042" y="513196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2</a:t>
            </a:r>
          </a:p>
        </p:txBody>
      </p:sp>
      <p:sp>
        <p:nvSpPr>
          <p:cNvPr id="53" name="TextBox 52">
            <a:extLst>
              <a:ext uri="{FF2B5EF4-FFF2-40B4-BE49-F238E27FC236}">
                <a16:creationId xmlns:a16="http://schemas.microsoft.com/office/drawing/2014/main" id="{7BD91470-EE10-4502-B693-2B39F6FE1A9E}"/>
              </a:ext>
            </a:extLst>
          </p:cNvPr>
          <p:cNvSpPr txBox="1"/>
          <p:nvPr/>
        </p:nvSpPr>
        <p:spPr>
          <a:xfrm>
            <a:off x="2905297" y="513196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3</a:t>
            </a:r>
          </a:p>
        </p:txBody>
      </p:sp>
      <p:sp>
        <p:nvSpPr>
          <p:cNvPr id="54" name="TextBox 53">
            <a:extLst>
              <a:ext uri="{FF2B5EF4-FFF2-40B4-BE49-F238E27FC236}">
                <a16:creationId xmlns:a16="http://schemas.microsoft.com/office/drawing/2014/main" id="{E9CBC01F-1F13-445C-B150-944DE7563E44}"/>
              </a:ext>
            </a:extLst>
          </p:cNvPr>
          <p:cNvSpPr txBox="1"/>
          <p:nvPr/>
        </p:nvSpPr>
        <p:spPr>
          <a:xfrm>
            <a:off x="5475552" y="513196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4</a:t>
            </a:r>
          </a:p>
        </p:txBody>
      </p:sp>
      <p:sp>
        <p:nvSpPr>
          <p:cNvPr id="55" name="TextBox 54">
            <a:extLst>
              <a:ext uri="{FF2B5EF4-FFF2-40B4-BE49-F238E27FC236}">
                <a16:creationId xmlns:a16="http://schemas.microsoft.com/office/drawing/2014/main" id="{13DBC9D0-2CE8-4A70-8002-FE011C3DCA4F}"/>
              </a:ext>
            </a:extLst>
          </p:cNvPr>
          <p:cNvSpPr txBox="1"/>
          <p:nvPr/>
        </p:nvSpPr>
        <p:spPr>
          <a:xfrm>
            <a:off x="8045807" y="513196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5</a:t>
            </a:r>
          </a:p>
        </p:txBody>
      </p:sp>
      <p:sp>
        <p:nvSpPr>
          <p:cNvPr id="56" name="TextBox 55">
            <a:extLst>
              <a:ext uri="{FF2B5EF4-FFF2-40B4-BE49-F238E27FC236}">
                <a16:creationId xmlns:a16="http://schemas.microsoft.com/office/drawing/2014/main" id="{39F74EFF-D892-4033-9712-D59BAE0EFEB2}"/>
              </a:ext>
            </a:extLst>
          </p:cNvPr>
          <p:cNvSpPr txBox="1"/>
          <p:nvPr/>
        </p:nvSpPr>
        <p:spPr>
          <a:xfrm>
            <a:off x="10616060" y="5131962"/>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algn="ctr">
              <a:spcAft>
                <a:spcPts val="1000"/>
              </a:spcAft>
            </a:pPr>
            <a:r>
              <a:rPr lang="en-US" sz="1200" b="1" dirty="0">
                <a:solidFill>
                  <a:srgbClr val="164484"/>
                </a:solidFill>
                <a:latin typeface="+mj-lt"/>
                <a:cs typeface="Arial" panose="020B0604020202020204" pitchFamily="34" charset="0"/>
              </a:rPr>
              <a:t>2026+</a:t>
            </a:r>
          </a:p>
        </p:txBody>
      </p:sp>
      <p:sp>
        <p:nvSpPr>
          <p:cNvPr id="57" name="Oval 56">
            <a:extLst>
              <a:ext uri="{FF2B5EF4-FFF2-40B4-BE49-F238E27FC236}">
                <a16:creationId xmlns:a16="http://schemas.microsoft.com/office/drawing/2014/main" id="{B27E5299-BE76-4E00-9E21-AA133C3A6DD6}"/>
              </a:ext>
            </a:extLst>
          </p:cNvPr>
          <p:cNvSpPr/>
          <p:nvPr/>
        </p:nvSpPr>
        <p:spPr>
          <a:xfrm>
            <a:off x="8428872" y="5345214"/>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algn="ctr"/>
            <a:endParaRPr lang="en-US" sz="1200" dirty="0" err="1">
              <a:solidFill>
                <a:srgbClr val="FFFFFF"/>
              </a:solidFill>
              <a:latin typeface="+mj-lt"/>
            </a:endParaRPr>
          </a:p>
        </p:txBody>
      </p:sp>
      <p:sp>
        <p:nvSpPr>
          <p:cNvPr id="58" name="Arrow: Pentagon 57">
            <a:extLst>
              <a:ext uri="{FF2B5EF4-FFF2-40B4-BE49-F238E27FC236}">
                <a16:creationId xmlns:a16="http://schemas.microsoft.com/office/drawing/2014/main" id="{03F5AC6A-60E0-4231-9DB5-D475D016D02E}"/>
              </a:ext>
            </a:extLst>
          </p:cNvPr>
          <p:cNvSpPr/>
          <p:nvPr/>
        </p:nvSpPr>
        <p:spPr>
          <a:xfrm>
            <a:off x="1617634" y="5703382"/>
            <a:ext cx="1068048" cy="266200"/>
          </a:xfrm>
          <a:prstGeom prst="homePlate">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164484"/>
                </a:solidFill>
                <a:prstDash val="solid"/>
                <a:round/>
                <a:headEnd type="none" w="med" len="med"/>
                <a:tailEnd type="none" w="med" len="med"/>
              </a14:hiddenLine>
            </a:ext>
          </a:ex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200" kern="0" dirty="0">
                <a:solidFill>
                  <a:schemeClr val="bg1"/>
                </a:solidFill>
                <a:latin typeface="+mj-lt"/>
              </a:rPr>
              <a:t>Apps</a:t>
            </a:r>
          </a:p>
        </p:txBody>
      </p:sp>
      <p:sp>
        <p:nvSpPr>
          <p:cNvPr id="60" name="TextBox 59">
            <a:extLst>
              <a:ext uri="{FF2B5EF4-FFF2-40B4-BE49-F238E27FC236}">
                <a16:creationId xmlns:a16="http://schemas.microsoft.com/office/drawing/2014/main" id="{5B35FD22-0988-4ECC-8BE5-62E63A643D03}"/>
              </a:ext>
            </a:extLst>
          </p:cNvPr>
          <p:cNvSpPr txBox="1"/>
          <p:nvPr/>
        </p:nvSpPr>
        <p:spPr>
          <a:xfrm>
            <a:off x="1325442" y="4965963"/>
            <a:ext cx="63518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r>
              <a:rPr lang="en-US" sz="1200" dirty="0" err="1">
                <a:solidFill>
                  <a:srgbClr val="000000"/>
                </a:solidFill>
                <a:latin typeface="+mj-lt"/>
                <a:cs typeface="Arial" panose="020B0604020202020204" pitchFamily="34" charset="0"/>
              </a:rPr>
              <a:t>NOFO</a:t>
            </a:r>
            <a:r>
              <a:rPr lang="en-US" sz="1200" dirty="0">
                <a:solidFill>
                  <a:srgbClr val="000000"/>
                </a:solidFill>
                <a:latin typeface="+mj-lt"/>
                <a:cs typeface="Arial" panose="020B0604020202020204" pitchFamily="34" charset="0"/>
              </a:rPr>
              <a:t> live 5/13</a:t>
            </a:r>
          </a:p>
        </p:txBody>
      </p:sp>
      <p:cxnSp>
        <p:nvCxnSpPr>
          <p:cNvPr id="61" name="Straight Connector 60">
            <a:extLst>
              <a:ext uri="{FF2B5EF4-FFF2-40B4-BE49-F238E27FC236}">
                <a16:creationId xmlns:a16="http://schemas.microsoft.com/office/drawing/2014/main" id="{92424C25-49B6-48D1-9EEA-8DFE88AF5351}"/>
              </a:ext>
            </a:extLst>
          </p:cNvPr>
          <p:cNvCxnSpPr>
            <a:cxnSpLocks/>
          </p:cNvCxnSpPr>
          <p:nvPr/>
        </p:nvCxnSpPr>
        <p:spPr>
          <a:xfrm>
            <a:off x="1632874" y="5434236"/>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FC24AC1B-FE7D-4534-B28D-586F174B4A51}"/>
              </a:ext>
            </a:extLst>
          </p:cNvPr>
          <p:cNvSpPr txBox="1"/>
          <p:nvPr/>
        </p:nvSpPr>
        <p:spPr>
          <a:xfrm>
            <a:off x="2214768" y="5150629"/>
            <a:ext cx="635182" cy="184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algn="ctr"/>
            <a:r>
              <a:rPr lang="en-US" sz="1200" dirty="0">
                <a:solidFill>
                  <a:srgbClr val="000000"/>
                </a:solidFill>
                <a:latin typeface="+mj-lt"/>
                <a:cs typeface="Arial" panose="020B0604020202020204" pitchFamily="34" charset="0"/>
              </a:rPr>
              <a:t>Due 9/30</a:t>
            </a:r>
          </a:p>
        </p:txBody>
      </p:sp>
      <p:cxnSp>
        <p:nvCxnSpPr>
          <p:cNvPr id="63" name="Straight Connector 62">
            <a:extLst>
              <a:ext uri="{FF2B5EF4-FFF2-40B4-BE49-F238E27FC236}">
                <a16:creationId xmlns:a16="http://schemas.microsoft.com/office/drawing/2014/main" id="{249B0659-8BF4-4C56-ACCD-FAEF59666E9F}"/>
              </a:ext>
            </a:extLst>
          </p:cNvPr>
          <p:cNvCxnSpPr>
            <a:cxnSpLocks/>
          </p:cNvCxnSpPr>
          <p:nvPr/>
        </p:nvCxnSpPr>
        <p:spPr>
          <a:xfrm>
            <a:off x="2522200" y="5434236"/>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325A783-EB86-4BD6-B5CB-EBBD129D2CEC}"/>
              </a:ext>
            </a:extLst>
          </p:cNvPr>
          <p:cNvSpPr txBox="1"/>
          <p:nvPr/>
        </p:nvSpPr>
        <p:spPr>
          <a:xfrm>
            <a:off x="3898547" y="4965963"/>
            <a:ext cx="150503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r>
              <a:rPr lang="en-US" sz="1200" dirty="0">
                <a:solidFill>
                  <a:srgbClr val="000000"/>
                </a:solidFill>
                <a:latin typeface="+mj-lt"/>
                <a:cs typeface="Arial" panose="020B0604020202020204" pitchFamily="34" charset="0"/>
              </a:rPr>
              <a:t>Rolling awards no earlier than 3/1</a:t>
            </a:r>
          </a:p>
        </p:txBody>
      </p:sp>
      <p:sp>
        <p:nvSpPr>
          <p:cNvPr id="74" name="TextBox 73">
            <a:extLst>
              <a:ext uri="{FF2B5EF4-FFF2-40B4-BE49-F238E27FC236}">
                <a16:creationId xmlns:a16="http://schemas.microsoft.com/office/drawing/2014/main" id="{6158A5F2-42A3-4611-B218-BBF2D805F779}"/>
              </a:ext>
            </a:extLst>
          </p:cNvPr>
          <p:cNvSpPr txBox="1"/>
          <p:nvPr/>
        </p:nvSpPr>
        <p:spPr>
          <a:xfrm>
            <a:off x="8248651" y="4796078"/>
            <a:ext cx="3541342" cy="192689"/>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defTabSz="582930"/>
            <a:r>
              <a:rPr lang="en-US" sz="1200" kern="0" dirty="0">
                <a:solidFill>
                  <a:srgbClr val="FFFFFF"/>
                </a:solidFill>
                <a:latin typeface="+mj-lt"/>
              </a:rPr>
              <a:t>Timeline approximate unless exact date specified</a:t>
            </a:r>
          </a:p>
        </p:txBody>
      </p:sp>
      <p:sp>
        <p:nvSpPr>
          <p:cNvPr id="75" name="Arrow: Chevron 74">
            <a:extLst>
              <a:ext uri="{FF2B5EF4-FFF2-40B4-BE49-F238E27FC236}">
                <a16:creationId xmlns:a16="http://schemas.microsoft.com/office/drawing/2014/main" id="{59402263-D8F1-4B57-A0D9-F17E48C0505B}"/>
              </a:ext>
            </a:extLst>
          </p:cNvPr>
          <p:cNvSpPr/>
          <p:nvPr/>
        </p:nvSpPr>
        <p:spPr>
          <a:xfrm>
            <a:off x="3575007" y="5703382"/>
            <a:ext cx="8026652"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algn="ctr" defTabSz="582930">
              <a:lnSpc>
                <a:spcPct val="90000"/>
              </a:lnSpc>
              <a:spcAft>
                <a:spcPts val="638"/>
              </a:spcAft>
            </a:pPr>
            <a:r>
              <a:rPr lang="en-US" sz="1100" kern="0" dirty="0">
                <a:solidFill>
                  <a:schemeClr val="bg1"/>
                </a:solidFill>
                <a:latin typeface="+mj-lt"/>
              </a:rPr>
              <a:t>5-yr deployment</a:t>
            </a:r>
          </a:p>
        </p:txBody>
      </p:sp>
      <p:cxnSp>
        <p:nvCxnSpPr>
          <p:cNvPr id="76" name="Straight Connector 75">
            <a:extLst>
              <a:ext uri="{FF2B5EF4-FFF2-40B4-BE49-F238E27FC236}">
                <a16:creationId xmlns:a16="http://schemas.microsoft.com/office/drawing/2014/main" id="{A1FD11A2-03C6-4FAA-BE03-C348C8670D45}"/>
              </a:ext>
            </a:extLst>
          </p:cNvPr>
          <p:cNvCxnSpPr>
            <a:cxnSpLocks/>
          </p:cNvCxnSpPr>
          <p:nvPr/>
        </p:nvCxnSpPr>
        <p:spPr>
          <a:xfrm>
            <a:off x="3898547" y="5434236"/>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ee4pFootnotes">
            <a:extLst>
              <a:ext uri="{FF2B5EF4-FFF2-40B4-BE49-F238E27FC236}">
                <a16:creationId xmlns:a16="http://schemas.microsoft.com/office/drawing/2014/main" id="{B44C297A-17A2-4070-904B-F2DF66F79434}"/>
              </a:ext>
            </a:extLst>
          </p:cNvPr>
          <p:cNvSpPr>
            <a:spLocks noChangeArrowheads="1"/>
          </p:cNvSpPr>
          <p:nvPr/>
        </p:nvSpPr>
        <p:spPr bwMode="auto">
          <a:xfrm>
            <a:off x="400051" y="6383309"/>
            <a:ext cx="92329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Arial" panose="020B0604020202020204" pitchFamily="34" charset="0"/>
                <a:cs typeface="Arial" panose="020B0604020202020204" pitchFamily="34" charset="0"/>
              </a:rPr>
              <a:t>Source: California Department of Technology, </a:t>
            </a:r>
            <a:r>
              <a:rPr lang="en-US" sz="1000" dirty="0">
                <a:solidFill>
                  <a:schemeClr val="bg1">
                    <a:lumMod val="50000"/>
                  </a:schemeClr>
                </a:solidFill>
                <a:latin typeface="Arial" panose="020B0604020202020204" pitchFamily="34" charset="0"/>
                <a:cs typeface="Arial" panose="020B0604020202020204" pitchFamily="34" charset="0"/>
                <a:hlinkClick r:id="rId3"/>
              </a:rPr>
              <a:t>"What is the middle mile"?</a:t>
            </a:r>
            <a:endParaRPr lang="en-US" sz="10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93535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84BF396-FB67-460E-81FB-0400B99C190D}"/>
              </a:ext>
            </a:extLst>
          </p:cNvPr>
          <p:cNvGraphicFramePr>
            <a:graphicFrameLocks noChangeAspect="1"/>
          </p:cNvGraphicFramePr>
          <p:nvPr>
            <p:custDataLst>
              <p:tags r:id="rId2"/>
            </p:custDataLst>
            <p:extLst>
              <p:ext uri="{D42A27DB-BD31-4B8C-83A1-F6EECF244321}">
                <p14:modId xmlns:p14="http://schemas.microsoft.com/office/powerpoint/2010/main" val="2988974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4"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B84BF396-FB67-460E-81FB-0400B99C19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B30050-0120-402A-98A7-53A505565175}"/>
              </a:ext>
            </a:extLst>
          </p:cNvPr>
          <p:cNvSpPr>
            <a:spLocks noGrp="1"/>
          </p:cNvSpPr>
          <p:nvPr>
            <p:ph type="title"/>
          </p:nvPr>
        </p:nvSpPr>
        <p:spPr>
          <a:xfrm>
            <a:off x="400051" y="387882"/>
            <a:ext cx="9976848" cy="566735"/>
          </a:xfrm>
          <a:prstGeom prst="rect">
            <a:avLst/>
          </a:prstGeom>
        </p:spPr>
        <p:txBody>
          <a:bodyPr vert="horz">
            <a:normAutofit fontScale="90000"/>
          </a:bodyPr>
          <a:lstStyle/>
          <a:p>
            <a:pPr>
              <a:buSzPts val="3000"/>
            </a:pPr>
            <a:r>
              <a:rPr lang="en-US" cap="none" dirty="0">
                <a:solidFill>
                  <a:srgbClr val="164484"/>
                </a:solidFill>
              </a:rPr>
              <a:t>There are many ways stakeholders may get involved in the programs</a:t>
            </a:r>
          </a:p>
        </p:txBody>
      </p:sp>
      <p:sp>
        <p:nvSpPr>
          <p:cNvPr id="4" name="Freeform: Shape 3">
            <a:extLst>
              <a:ext uri="{FF2B5EF4-FFF2-40B4-BE49-F238E27FC236}">
                <a16:creationId xmlns:a16="http://schemas.microsoft.com/office/drawing/2014/main" id="{F2DB270B-A658-4D42-82BC-3B4409ACA20D}"/>
              </a:ext>
            </a:extLst>
          </p:cNvPr>
          <p:cNvSpPr/>
          <p:nvPr/>
        </p:nvSpPr>
        <p:spPr>
          <a:xfrm>
            <a:off x="1744246"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Shape 4">
            <a:extLst>
              <a:ext uri="{FF2B5EF4-FFF2-40B4-BE49-F238E27FC236}">
                <a16:creationId xmlns:a16="http://schemas.microsoft.com/office/drawing/2014/main" id="{0B95591E-8560-4A33-9313-0C01F4412686}"/>
              </a:ext>
            </a:extLst>
          </p:cNvPr>
          <p:cNvSpPr/>
          <p:nvPr/>
        </p:nvSpPr>
        <p:spPr>
          <a:xfrm>
            <a:off x="3529684"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Shape 5">
            <a:extLst>
              <a:ext uri="{FF2B5EF4-FFF2-40B4-BE49-F238E27FC236}">
                <a16:creationId xmlns:a16="http://schemas.microsoft.com/office/drawing/2014/main" id="{587480A8-5C44-44F9-8549-BCE33AE81587}"/>
              </a:ext>
            </a:extLst>
          </p:cNvPr>
          <p:cNvSpPr/>
          <p:nvPr/>
        </p:nvSpPr>
        <p:spPr>
          <a:xfrm>
            <a:off x="5315123"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Shape 6">
            <a:extLst>
              <a:ext uri="{FF2B5EF4-FFF2-40B4-BE49-F238E27FC236}">
                <a16:creationId xmlns:a16="http://schemas.microsoft.com/office/drawing/2014/main" id="{DEE03B63-6ECE-4841-B2EF-27D7B25A0C5E}"/>
              </a:ext>
            </a:extLst>
          </p:cNvPr>
          <p:cNvSpPr/>
          <p:nvPr/>
        </p:nvSpPr>
        <p:spPr>
          <a:xfrm>
            <a:off x="7100561" y="3016077"/>
            <a:ext cx="1666861" cy="1776467"/>
          </a:xfrm>
          <a:custGeom>
            <a:avLst/>
            <a:gdLst>
              <a:gd name="connsiteX0" fmla="*/ 525358 w 1348259"/>
              <a:gd name="connsiteY0" fmla="*/ 0 h 1436915"/>
              <a:gd name="connsiteX1" fmla="*/ 1307175 w 1348259"/>
              <a:gd name="connsiteY1" fmla="*/ 866361 h 1436915"/>
              <a:gd name="connsiteX2" fmla="*/ 1348259 w 1348259"/>
              <a:gd name="connsiteY2" fmla="*/ 868436 h 1436915"/>
              <a:gd name="connsiteX3" fmla="*/ 1280672 w 1348259"/>
              <a:gd name="connsiteY3" fmla="*/ 875249 h 1436915"/>
              <a:gd name="connsiteX4" fmla="*/ 822901 w 1348259"/>
              <a:gd name="connsiteY4" fmla="*/ 1436915 h 1436915"/>
              <a:gd name="connsiteX5" fmla="*/ 41084 w 1348259"/>
              <a:gd name="connsiteY5" fmla="*/ 570554 h 1436915"/>
              <a:gd name="connsiteX6" fmla="*/ 0 w 1348259"/>
              <a:gd name="connsiteY6" fmla="*/ 568480 h 1436915"/>
              <a:gd name="connsiteX7" fmla="*/ 67587 w 1348259"/>
              <a:gd name="connsiteY7" fmla="*/ 561666 h 1436915"/>
              <a:gd name="connsiteX8" fmla="*/ 525358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525358" y="0"/>
                </a:moveTo>
                <a:cubicBezTo>
                  <a:pt x="525358" y="450901"/>
                  <a:pt x="868040" y="821764"/>
                  <a:pt x="1307175" y="866361"/>
                </a:cubicBezTo>
                <a:lnTo>
                  <a:pt x="1348259" y="868436"/>
                </a:lnTo>
                <a:lnTo>
                  <a:pt x="1280672" y="875249"/>
                </a:lnTo>
                <a:cubicBezTo>
                  <a:pt x="1019423" y="928708"/>
                  <a:pt x="822901" y="1159861"/>
                  <a:pt x="822901" y="1436915"/>
                </a:cubicBezTo>
                <a:cubicBezTo>
                  <a:pt x="822901" y="986014"/>
                  <a:pt x="480219" y="615151"/>
                  <a:pt x="41084" y="570554"/>
                </a:cubicBezTo>
                <a:lnTo>
                  <a:pt x="0" y="568480"/>
                </a:lnTo>
                <a:lnTo>
                  <a:pt x="67587" y="561666"/>
                </a:lnTo>
                <a:cubicBezTo>
                  <a:pt x="328837" y="508207"/>
                  <a:pt x="525358" y="277054"/>
                  <a:pt x="525358"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Shape 7">
            <a:extLst>
              <a:ext uri="{FF2B5EF4-FFF2-40B4-BE49-F238E27FC236}">
                <a16:creationId xmlns:a16="http://schemas.microsoft.com/office/drawing/2014/main" id="{B2E547ED-944F-40C2-8E6F-DF36F2CA6A22}"/>
              </a:ext>
            </a:extLst>
          </p:cNvPr>
          <p:cNvSpPr/>
          <p:nvPr/>
        </p:nvSpPr>
        <p:spPr>
          <a:xfrm>
            <a:off x="8885999" y="3016077"/>
            <a:ext cx="1666861" cy="1776467"/>
          </a:xfrm>
          <a:custGeom>
            <a:avLst/>
            <a:gdLst>
              <a:gd name="connsiteX0" fmla="*/ 822901 w 1348259"/>
              <a:gd name="connsiteY0" fmla="*/ 0 h 1436915"/>
              <a:gd name="connsiteX1" fmla="*/ 1280672 w 1348259"/>
              <a:gd name="connsiteY1" fmla="*/ 561666 h 1436915"/>
              <a:gd name="connsiteX2" fmla="*/ 1348259 w 1348259"/>
              <a:gd name="connsiteY2" fmla="*/ 568480 h 1436915"/>
              <a:gd name="connsiteX3" fmla="*/ 1307175 w 1348259"/>
              <a:gd name="connsiteY3" fmla="*/ 570554 h 1436915"/>
              <a:gd name="connsiteX4" fmla="*/ 525358 w 1348259"/>
              <a:gd name="connsiteY4" fmla="*/ 1436915 h 1436915"/>
              <a:gd name="connsiteX5" fmla="*/ 67587 w 1348259"/>
              <a:gd name="connsiteY5" fmla="*/ 875249 h 1436915"/>
              <a:gd name="connsiteX6" fmla="*/ 0 w 1348259"/>
              <a:gd name="connsiteY6" fmla="*/ 868436 h 1436915"/>
              <a:gd name="connsiteX7" fmla="*/ 41084 w 1348259"/>
              <a:gd name="connsiteY7" fmla="*/ 866361 h 1436915"/>
              <a:gd name="connsiteX8" fmla="*/ 822901 w 1348259"/>
              <a:gd name="connsiteY8" fmla="*/ 0 h 1436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259" h="1436915">
                <a:moveTo>
                  <a:pt x="822901" y="0"/>
                </a:moveTo>
                <a:cubicBezTo>
                  <a:pt x="822901" y="277054"/>
                  <a:pt x="1019423" y="508207"/>
                  <a:pt x="1280672" y="561666"/>
                </a:cubicBezTo>
                <a:lnTo>
                  <a:pt x="1348259" y="568480"/>
                </a:lnTo>
                <a:lnTo>
                  <a:pt x="1307175" y="570554"/>
                </a:lnTo>
                <a:cubicBezTo>
                  <a:pt x="868040" y="615151"/>
                  <a:pt x="525358" y="986014"/>
                  <a:pt x="525358" y="1436915"/>
                </a:cubicBezTo>
                <a:cubicBezTo>
                  <a:pt x="525358" y="1159861"/>
                  <a:pt x="328837" y="928708"/>
                  <a:pt x="67587" y="875249"/>
                </a:cubicBezTo>
                <a:lnTo>
                  <a:pt x="0" y="868436"/>
                </a:lnTo>
                <a:lnTo>
                  <a:pt x="41084" y="866361"/>
                </a:lnTo>
                <a:cubicBezTo>
                  <a:pt x="480219" y="821764"/>
                  <a:pt x="822901" y="450901"/>
                  <a:pt x="822901" y="0"/>
                </a:cubicBez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E0CCD2B3-1CFA-4087-9778-55BD355D7FF3}"/>
              </a:ext>
            </a:extLst>
          </p:cNvPr>
          <p:cNvSpPr txBox="1"/>
          <p:nvPr/>
        </p:nvSpPr>
        <p:spPr>
          <a:xfrm flipH="1">
            <a:off x="2435829" y="4897644"/>
            <a:ext cx="2236668" cy="1585049"/>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245795"/>
                </a:solidFill>
                <a:latin typeface="+mj-lt"/>
                <a:ea typeface="Open Sans" panose="020B0606030504020204" pitchFamily="34" charset="0"/>
                <a:cs typeface="Frutiger LT Arabic 45 Light" panose="01000000000000000000" pitchFamily="2" charset="-78"/>
              </a:rPr>
              <a:t>Tribal government</a:t>
            </a:r>
          </a:p>
          <a:p>
            <a:pPr marL="226695" lvl="1" indent="-151130">
              <a:buClr>
                <a:srgbClr val="0A3161"/>
              </a:buClr>
              <a:buSzPct val="100000"/>
              <a:buFont typeface="Trebuchet MS" panose="020B0603020202020204" pitchFamily="34" charset="0"/>
              <a:buChar char="•"/>
            </a:pPr>
            <a:r>
              <a:rPr lang="en-US" sz="1200" dirty="0">
                <a:solidFill>
                  <a:srgbClr val="000000"/>
                </a:solidFill>
                <a:latin typeface="+mj-lt"/>
                <a:ea typeface="Open Sans"/>
                <a:cs typeface="Frutiger LT Arabic 45 Light"/>
              </a:rPr>
              <a:t>Coordinate, consult, and partner with states during BEAD planning</a:t>
            </a:r>
          </a:p>
          <a:p>
            <a:pPr marL="226695" lvl="1" indent="-151130">
              <a:buClr>
                <a:srgbClr val="0A3161"/>
              </a:buClr>
              <a:buSzPct val="100000"/>
              <a:buFont typeface="Trebuchet MS" panose="020B0603020202020204" pitchFamily="34" charset="0"/>
              <a:buChar char="•"/>
            </a:pPr>
            <a:r>
              <a:rPr lang="en-US" sz="1200" dirty="0">
                <a:solidFill>
                  <a:srgbClr val="000000"/>
                </a:solidFill>
                <a:latin typeface="+mj-lt"/>
                <a:ea typeface="Open Sans"/>
                <a:cs typeface="Frutiger LT Arabic 45 Light"/>
              </a:rPr>
              <a:t>Apply for a Middle Mile, Tribal Broadband, or Digital Equity capacity and competitive grants</a:t>
            </a:r>
          </a:p>
        </p:txBody>
      </p:sp>
      <p:sp>
        <p:nvSpPr>
          <p:cNvPr id="16" name="TextBox 15">
            <a:extLst>
              <a:ext uri="{FF2B5EF4-FFF2-40B4-BE49-F238E27FC236}">
                <a16:creationId xmlns:a16="http://schemas.microsoft.com/office/drawing/2014/main" id="{5A428DDD-FADD-4551-86C3-3E673FD1454A}"/>
              </a:ext>
            </a:extLst>
          </p:cNvPr>
          <p:cNvSpPr txBox="1"/>
          <p:nvPr/>
        </p:nvSpPr>
        <p:spPr>
          <a:xfrm flipH="1">
            <a:off x="6021839" y="4897644"/>
            <a:ext cx="2259621" cy="1400383"/>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3EAD92"/>
                </a:solidFill>
                <a:latin typeface="+mj-lt"/>
                <a:ea typeface="Open Sans" panose="020B0606030504020204" pitchFamily="34" charset="0"/>
                <a:cs typeface="Frutiger LT Arabic 45 Light" panose="01000000000000000000" pitchFamily="2" charset="-78"/>
              </a:rPr>
              <a:t>Local government</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llaborate with state to develop Digital Equity plan and during BEAD planning</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pply for a Middle Mile or Digital Equity capacity and competitive grants</a:t>
            </a:r>
          </a:p>
        </p:txBody>
      </p:sp>
      <p:sp>
        <p:nvSpPr>
          <p:cNvPr id="17" name="TextBox 16">
            <a:extLst>
              <a:ext uri="{FF2B5EF4-FFF2-40B4-BE49-F238E27FC236}">
                <a16:creationId xmlns:a16="http://schemas.microsoft.com/office/drawing/2014/main" id="{222880F0-634F-4DF9-8906-BEDAC8EB5B0A}"/>
              </a:ext>
            </a:extLst>
          </p:cNvPr>
          <p:cNvSpPr txBox="1"/>
          <p:nvPr/>
        </p:nvSpPr>
        <p:spPr>
          <a:xfrm flipH="1">
            <a:off x="513106" y="1564949"/>
            <a:ext cx="2259621" cy="1354217"/>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0A3161"/>
                </a:solidFill>
                <a:latin typeface="+mj-lt"/>
                <a:ea typeface="Open Sans" panose="020B0606030504020204" pitchFamily="34" charset="0"/>
                <a:cs typeface="Frutiger LT Arabic 45 Light" panose="01000000000000000000" pitchFamily="2" charset="-78"/>
              </a:rPr>
              <a:t>Telecom provider</a:t>
            </a:r>
          </a:p>
          <a:p>
            <a:pPr marL="226800" lvl="1" indent="-1512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pply to be a BEAD subgrantee or apply directly for Middle Mile</a:t>
            </a:r>
          </a:p>
          <a:p>
            <a:pPr marL="226800" lvl="1" indent="-151200">
              <a:buClr>
                <a:srgbClr val="0A3161"/>
              </a:buClr>
              <a:buSzPct val="100000"/>
              <a:buFont typeface="Trebuchet MS" panose="020B0603020202020204" pitchFamily="34" charset="0"/>
              <a:buChar char="•"/>
            </a:pPr>
            <a:r>
              <a:rPr lang="en-US" sz="1200" i="1" dirty="0">
                <a:solidFill>
                  <a:srgbClr val="000000"/>
                </a:solidFill>
                <a:latin typeface="+mj-lt"/>
                <a:ea typeface="Open Sans" panose="020B0606030504020204" pitchFamily="34" charset="0"/>
                <a:cs typeface="Frutiger LT Arabic 45 Light" panose="01000000000000000000" pitchFamily="2" charset="-78"/>
              </a:rPr>
              <a:t>Note: Telecom providers may include government owned entities</a:t>
            </a:r>
          </a:p>
        </p:txBody>
      </p:sp>
      <p:sp>
        <p:nvSpPr>
          <p:cNvPr id="18" name="TextBox 17">
            <a:extLst>
              <a:ext uri="{FF2B5EF4-FFF2-40B4-BE49-F238E27FC236}">
                <a16:creationId xmlns:a16="http://schemas.microsoft.com/office/drawing/2014/main" id="{8894B6FC-D6C5-4EFE-9992-4D31FE9EA352}"/>
              </a:ext>
            </a:extLst>
          </p:cNvPr>
          <p:cNvSpPr txBox="1"/>
          <p:nvPr/>
        </p:nvSpPr>
        <p:spPr>
          <a:xfrm flipH="1">
            <a:off x="4151121" y="1318728"/>
            <a:ext cx="2259621" cy="1600438"/>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0F243E"/>
                </a:solidFill>
                <a:latin typeface="+mj-lt"/>
                <a:ea typeface="Open Sans" panose="020B0606030504020204" pitchFamily="34" charset="0"/>
                <a:cs typeface="Frutiger LT Arabic 45 Light" panose="01000000000000000000" pitchFamily="2" charset="-78"/>
              </a:rPr>
              <a:t>Community anchor institution</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Benefit from BEAD funding for faster Internet</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pply for Digital Equity competitive grant</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dvocate for community interests across programs</a:t>
            </a:r>
          </a:p>
        </p:txBody>
      </p:sp>
      <p:sp>
        <p:nvSpPr>
          <p:cNvPr id="19" name="TextBox 18">
            <a:extLst>
              <a:ext uri="{FF2B5EF4-FFF2-40B4-BE49-F238E27FC236}">
                <a16:creationId xmlns:a16="http://schemas.microsoft.com/office/drawing/2014/main" id="{6936A131-45AF-46DB-A27E-BE9676519FDD}"/>
              </a:ext>
            </a:extLst>
          </p:cNvPr>
          <p:cNvSpPr txBox="1"/>
          <p:nvPr/>
        </p:nvSpPr>
        <p:spPr>
          <a:xfrm flipH="1">
            <a:off x="7637611" y="1749615"/>
            <a:ext cx="2259621" cy="1169551"/>
          </a:xfrm>
          <a:prstGeom prst="rect">
            <a:avLst/>
          </a:prstGeom>
          <a:noFill/>
        </p:spPr>
        <p:txBody>
          <a:bodyPr vert="horz" wrap="square" lIns="0" tIns="0" rIns="0" bIns="0" rtlCol="0" anchor="b" anchorCtr="0">
            <a:spAutoFit/>
          </a:bodyPr>
          <a:lstStyle/>
          <a:p>
            <a:pPr>
              <a:buClr>
                <a:srgbClr val="0A3161"/>
              </a:buClr>
              <a:buSzPct val="100000"/>
              <a:buFont typeface="Trebuchet MS" panose="020B0603020202020204" pitchFamily="34" charset="0"/>
              <a:buChar char="​"/>
            </a:pPr>
            <a:r>
              <a:rPr lang="en-US" sz="1600" b="1" dirty="0">
                <a:solidFill>
                  <a:srgbClr val="30C1D7"/>
                </a:solidFill>
                <a:latin typeface="+mj-lt"/>
                <a:ea typeface="Open Sans" panose="020B0606030504020204" pitchFamily="34" charset="0"/>
                <a:cs typeface="Frutiger LT Arabic 45 Light" panose="01000000000000000000" pitchFamily="2" charset="-78"/>
              </a:rPr>
              <a:t>Community org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Serve as a thought partner as states design their outreach strategie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Advocate for community interests across programs</a:t>
            </a:r>
          </a:p>
        </p:txBody>
      </p:sp>
      <p:sp>
        <p:nvSpPr>
          <p:cNvPr id="20" name="TextBox 19">
            <a:extLst>
              <a:ext uri="{FF2B5EF4-FFF2-40B4-BE49-F238E27FC236}">
                <a16:creationId xmlns:a16="http://schemas.microsoft.com/office/drawing/2014/main" id="{B6629B2A-156C-4319-88E5-8E6D8B6DE1B3}"/>
              </a:ext>
            </a:extLst>
          </p:cNvPr>
          <p:cNvSpPr txBox="1"/>
          <p:nvPr/>
        </p:nvSpPr>
        <p:spPr>
          <a:xfrm flipH="1">
            <a:off x="9615229" y="4897644"/>
            <a:ext cx="2144884" cy="1215717"/>
          </a:xfrm>
          <a:prstGeom prst="rect">
            <a:avLst/>
          </a:prstGeom>
          <a:noFill/>
        </p:spPr>
        <p:txBody>
          <a:bodyPr vert="horz" wrap="square" lIns="0" tIns="45720" rIns="0" bIns="0" rtlCol="0" anchor="t" anchorCtr="0">
            <a:spAutoFit/>
          </a:bodyPr>
          <a:lstStyle/>
          <a:p>
            <a:pPr>
              <a:buClr>
                <a:srgbClr val="0A3161"/>
              </a:buClr>
              <a:buSzPct val="100000"/>
              <a:buFont typeface="Trebuchet MS" panose="020B0603020202020204" pitchFamily="34" charset="0"/>
              <a:buChar char="​"/>
            </a:pPr>
            <a:r>
              <a:rPr lang="en-US" sz="1600" b="1" dirty="0">
                <a:solidFill>
                  <a:srgbClr val="295E7E"/>
                </a:solidFill>
                <a:latin typeface="+mj-lt"/>
                <a:ea typeface="Open Sans" panose="020B0606030504020204" pitchFamily="34" charset="0"/>
                <a:cs typeface="Frutiger LT Arabic 45 Light" panose="01000000000000000000" pitchFamily="2" charset="-78"/>
              </a:rPr>
              <a:t>Individual</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Participate in digital skill and literacy courses funded by programs</a:t>
            </a:r>
          </a:p>
          <a:p>
            <a:pPr marL="194400" lvl="1" indent="-129600">
              <a:buClr>
                <a:srgbClr val="0A3161"/>
              </a:buClr>
              <a:buSzPct val="100000"/>
              <a:buFont typeface="Trebuchet MS" panose="020B0603020202020204" pitchFamily="34" charset="0"/>
              <a:buChar char="•"/>
            </a:pPr>
            <a:r>
              <a:rPr lang="en-US" sz="1200" dirty="0">
                <a:solidFill>
                  <a:srgbClr val="000000"/>
                </a:solidFill>
                <a:latin typeface="+mj-lt"/>
                <a:ea typeface="Open Sans" panose="020B0606030504020204" pitchFamily="34" charset="0"/>
                <a:cs typeface="Frutiger LT Arabic 45 Light" panose="01000000000000000000" pitchFamily="2" charset="-78"/>
              </a:rPr>
              <a:t>Contact local reps for more information</a:t>
            </a:r>
          </a:p>
        </p:txBody>
      </p:sp>
      <p:sp>
        <p:nvSpPr>
          <p:cNvPr id="21" name="AutoShape 3">
            <a:extLst>
              <a:ext uri="{FF2B5EF4-FFF2-40B4-BE49-F238E27FC236}">
                <a16:creationId xmlns:a16="http://schemas.microsoft.com/office/drawing/2014/main" id="{1416F88B-BD56-4940-9CED-91ED01375961}"/>
              </a:ext>
            </a:extLst>
          </p:cNvPr>
          <p:cNvSpPr>
            <a:spLocks noChangeAspect="1" noChangeArrowheads="1" noTextEdit="1"/>
          </p:cNvSpPr>
          <p:nvPr/>
        </p:nvSpPr>
        <p:spPr bwMode="auto">
          <a:xfrm>
            <a:off x="5326227" y="2691460"/>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a:extLst>
              <a:ext uri="{FF2B5EF4-FFF2-40B4-BE49-F238E27FC236}">
                <a16:creationId xmlns:a16="http://schemas.microsoft.com/office/drawing/2014/main" id="{47F06332-17C3-43A9-A689-575A0EC4890B}"/>
              </a:ext>
            </a:extLst>
          </p:cNvPr>
          <p:cNvGrpSpPr/>
          <p:nvPr/>
        </p:nvGrpSpPr>
        <p:grpSpPr>
          <a:xfrm>
            <a:off x="976165" y="4083751"/>
            <a:ext cx="1417584" cy="1417584"/>
            <a:chOff x="13026276" y="5474047"/>
            <a:chExt cx="1417584" cy="1417584"/>
          </a:xfrm>
        </p:grpSpPr>
        <p:sp>
          <p:nvSpPr>
            <p:cNvPr id="84" name="Oval 83">
              <a:extLst>
                <a:ext uri="{FF2B5EF4-FFF2-40B4-BE49-F238E27FC236}">
                  <a16:creationId xmlns:a16="http://schemas.microsoft.com/office/drawing/2014/main" id="{E5547840-A20D-435B-97D1-F27B0FD2B71C}"/>
                </a:ext>
              </a:extLst>
            </p:cNvPr>
            <p:cNvSpPr/>
            <p:nvPr/>
          </p:nvSpPr>
          <p:spPr>
            <a:xfrm>
              <a:off x="13026276" y="5474047"/>
              <a:ext cx="1417584" cy="14175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5" name="Group 14">
              <a:extLst>
                <a:ext uri="{FF2B5EF4-FFF2-40B4-BE49-F238E27FC236}">
                  <a16:creationId xmlns:a16="http://schemas.microsoft.com/office/drawing/2014/main" id="{C75FB197-D6C5-4F00-86F2-A23E9D9F42DE}"/>
                </a:ext>
              </a:extLst>
            </p:cNvPr>
            <p:cNvGrpSpPr>
              <a:grpSpLocks noChangeAspect="1"/>
            </p:cNvGrpSpPr>
            <p:nvPr/>
          </p:nvGrpSpPr>
          <p:grpSpPr bwMode="auto">
            <a:xfrm>
              <a:off x="13264412" y="5712182"/>
              <a:ext cx="941313" cy="941313"/>
              <a:chOff x="1158" y="972"/>
              <a:chExt cx="288" cy="288"/>
            </a:xfrm>
          </p:grpSpPr>
          <p:sp>
            <p:nvSpPr>
              <p:cNvPr id="86" name="AutoShape 13">
                <a:extLst>
                  <a:ext uri="{FF2B5EF4-FFF2-40B4-BE49-F238E27FC236}">
                    <a16:creationId xmlns:a16="http://schemas.microsoft.com/office/drawing/2014/main" id="{E02E23EA-C9AA-45BE-B53C-C842D3431C50}"/>
                  </a:ext>
                </a:extLst>
              </p:cNvPr>
              <p:cNvSpPr>
                <a:spLocks noChangeAspect="1" noChangeArrowheads="1" noTextEdit="1"/>
              </p:cNvSpPr>
              <p:nvPr/>
            </p:nvSpPr>
            <p:spPr bwMode="auto">
              <a:xfrm>
                <a:off x="1158"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5">
                <a:extLst>
                  <a:ext uri="{FF2B5EF4-FFF2-40B4-BE49-F238E27FC236}">
                    <a16:creationId xmlns:a16="http://schemas.microsoft.com/office/drawing/2014/main" id="{FBF85BBC-2F8C-47E6-90CE-32217683A87D}"/>
                  </a:ext>
                </a:extLst>
              </p:cNvPr>
              <p:cNvSpPr>
                <a:spLocks noEditPoints="1"/>
              </p:cNvSpPr>
              <p:nvPr/>
            </p:nvSpPr>
            <p:spPr bwMode="auto">
              <a:xfrm>
                <a:off x="1175" y="989"/>
                <a:ext cx="249" cy="254"/>
              </a:xfrm>
              <a:custGeom>
                <a:avLst/>
                <a:gdLst>
                  <a:gd name="T0" fmla="*/ 474 w 861"/>
                  <a:gd name="T1" fmla="*/ 189 h 880"/>
                  <a:gd name="T2" fmla="*/ 486 w 861"/>
                  <a:gd name="T3" fmla="*/ 252 h 880"/>
                  <a:gd name="T4" fmla="*/ 527 w 861"/>
                  <a:gd name="T5" fmla="*/ 263 h 880"/>
                  <a:gd name="T6" fmla="*/ 328 w 861"/>
                  <a:gd name="T7" fmla="*/ 193 h 880"/>
                  <a:gd name="T8" fmla="*/ 385 w 861"/>
                  <a:gd name="T9" fmla="*/ 267 h 880"/>
                  <a:gd name="T10" fmla="*/ 373 w 861"/>
                  <a:gd name="T11" fmla="*/ 193 h 880"/>
                  <a:gd name="T12" fmla="*/ 491 w 861"/>
                  <a:gd name="T13" fmla="*/ 235 h 880"/>
                  <a:gd name="T14" fmla="*/ 339 w 861"/>
                  <a:gd name="T15" fmla="*/ 319 h 880"/>
                  <a:gd name="T16" fmla="*/ 440 w 861"/>
                  <a:gd name="T17" fmla="*/ 47 h 880"/>
                  <a:gd name="T18" fmla="*/ 539 w 861"/>
                  <a:gd name="T19" fmla="*/ 320 h 880"/>
                  <a:gd name="T20" fmla="*/ 580 w 861"/>
                  <a:gd name="T21" fmla="*/ 336 h 880"/>
                  <a:gd name="T22" fmla="*/ 242 w 861"/>
                  <a:gd name="T23" fmla="*/ 197 h 880"/>
                  <a:gd name="T24" fmla="*/ 676 w 861"/>
                  <a:gd name="T25" fmla="*/ 855 h 880"/>
                  <a:gd name="T26" fmla="*/ 460 w 861"/>
                  <a:gd name="T27" fmla="*/ 260 h 880"/>
                  <a:gd name="T28" fmla="*/ 435 w 861"/>
                  <a:gd name="T29" fmla="*/ 265 h 880"/>
                  <a:gd name="T30" fmla="*/ 407 w 861"/>
                  <a:gd name="T31" fmla="*/ 266 h 880"/>
                  <a:gd name="T32" fmla="*/ 221 w 861"/>
                  <a:gd name="T33" fmla="*/ 880 h 880"/>
                  <a:gd name="T34" fmla="*/ 602 w 861"/>
                  <a:gd name="T35" fmla="*/ 753 h 880"/>
                  <a:gd name="T36" fmla="*/ 665 w 861"/>
                  <a:gd name="T37" fmla="*/ 879 h 880"/>
                  <a:gd name="T38" fmla="*/ 538 w 861"/>
                  <a:gd name="T39" fmla="*/ 569 h 880"/>
                  <a:gd name="T40" fmla="*/ 538 w 861"/>
                  <a:gd name="T41" fmla="*/ 569 h 880"/>
                  <a:gd name="T42" fmla="*/ 499 w 861"/>
                  <a:gd name="T43" fmla="*/ 589 h 880"/>
                  <a:gd name="T44" fmla="*/ 440 w 861"/>
                  <a:gd name="T45" fmla="*/ 641 h 880"/>
                  <a:gd name="T46" fmla="*/ 421 w 861"/>
                  <a:gd name="T47" fmla="*/ 500 h 880"/>
                  <a:gd name="T48" fmla="*/ 421 w 861"/>
                  <a:gd name="T49" fmla="*/ 500 h 880"/>
                  <a:gd name="T50" fmla="*/ 423 w 861"/>
                  <a:gd name="T51" fmla="*/ 335 h 880"/>
                  <a:gd name="T52" fmla="*/ 470 w 861"/>
                  <a:gd name="T53" fmla="*/ 373 h 880"/>
                  <a:gd name="T54" fmla="*/ 410 w 861"/>
                  <a:gd name="T55" fmla="*/ 373 h 880"/>
                  <a:gd name="T56" fmla="*/ 342 w 861"/>
                  <a:gd name="T57" fmla="*/ 569 h 880"/>
                  <a:gd name="T58" fmla="*/ 391 w 861"/>
                  <a:gd name="T59" fmla="*/ 661 h 880"/>
                  <a:gd name="T60" fmla="*/ 358 w 861"/>
                  <a:gd name="T61" fmla="*/ 716 h 880"/>
                  <a:gd name="T62" fmla="*/ 358 w 861"/>
                  <a:gd name="T63" fmla="*/ 716 h 880"/>
                  <a:gd name="T64" fmla="*/ 583 w 861"/>
                  <a:gd name="T65" fmla="*/ 701 h 880"/>
                  <a:gd name="T66" fmla="*/ 220 w 861"/>
                  <a:gd name="T67" fmla="*/ 650 h 880"/>
                  <a:gd name="T68" fmla="*/ 35 w 861"/>
                  <a:gd name="T69" fmla="*/ 635 h 880"/>
                  <a:gd name="T70" fmla="*/ 35 w 861"/>
                  <a:gd name="T71" fmla="*/ 418 h 880"/>
                  <a:gd name="T72" fmla="*/ 11 w 861"/>
                  <a:gd name="T73" fmla="*/ 387 h 880"/>
                  <a:gd name="T74" fmla="*/ 11 w 861"/>
                  <a:gd name="T75" fmla="*/ 706 h 880"/>
                  <a:gd name="T76" fmla="*/ 138 w 861"/>
                  <a:gd name="T77" fmla="*/ 749 h 880"/>
                  <a:gd name="T78" fmla="*/ 186 w 861"/>
                  <a:gd name="T79" fmla="*/ 771 h 880"/>
                  <a:gd name="T80" fmla="*/ 850 w 861"/>
                  <a:gd name="T81" fmla="*/ 357 h 880"/>
                  <a:gd name="T82" fmla="*/ 617 w 861"/>
                  <a:gd name="T83" fmla="*/ 549 h 880"/>
                  <a:gd name="T84" fmla="*/ 654 w 861"/>
                  <a:gd name="T85" fmla="*/ 388 h 880"/>
                  <a:gd name="T86" fmla="*/ 832 w 861"/>
                  <a:gd name="T87" fmla="*/ 685 h 880"/>
                  <a:gd name="T88" fmla="*/ 703 w 861"/>
                  <a:gd name="T89" fmla="*/ 798 h 880"/>
                  <a:gd name="T90" fmla="*/ 861 w 861"/>
                  <a:gd name="T91" fmla="*/ 368 h 880"/>
                  <a:gd name="T92" fmla="*/ 717 w 861"/>
                  <a:gd name="T93" fmla="*/ 744 h 880"/>
                  <a:gd name="T94" fmla="*/ 739 w 861"/>
                  <a:gd name="T95" fmla="*/ 76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880">
                    <a:moveTo>
                      <a:pt x="406" y="189"/>
                    </a:moveTo>
                    <a:cubicBezTo>
                      <a:pt x="406" y="208"/>
                      <a:pt x="421" y="223"/>
                      <a:pt x="440" y="223"/>
                    </a:cubicBezTo>
                    <a:cubicBezTo>
                      <a:pt x="458" y="223"/>
                      <a:pt x="474" y="208"/>
                      <a:pt x="474" y="189"/>
                    </a:cubicBezTo>
                    <a:cubicBezTo>
                      <a:pt x="474" y="170"/>
                      <a:pt x="458" y="154"/>
                      <a:pt x="440" y="154"/>
                    </a:cubicBezTo>
                    <a:cubicBezTo>
                      <a:pt x="421" y="154"/>
                      <a:pt x="406" y="170"/>
                      <a:pt x="406" y="189"/>
                    </a:cubicBezTo>
                    <a:close/>
                    <a:moveTo>
                      <a:pt x="486" y="252"/>
                    </a:moveTo>
                    <a:cubicBezTo>
                      <a:pt x="487" y="258"/>
                      <a:pt x="490" y="263"/>
                      <a:pt x="494" y="267"/>
                    </a:cubicBezTo>
                    <a:cubicBezTo>
                      <a:pt x="498" y="270"/>
                      <a:pt x="503" y="272"/>
                      <a:pt x="509" y="272"/>
                    </a:cubicBezTo>
                    <a:cubicBezTo>
                      <a:pt x="516" y="272"/>
                      <a:pt x="523" y="269"/>
                      <a:pt x="527" y="263"/>
                    </a:cubicBezTo>
                    <a:cubicBezTo>
                      <a:pt x="542" y="244"/>
                      <a:pt x="551" y="219"/>
                      <a:pt x="551" y="193"/>
                    </a:cubicBezTo>
                    <a:cubicBezTo>
                      <a:pt x="551" y="130"/>
                      <a:pt x="501" y="79"/>
                      <a:pt x="440" y="79"/>
                    </a:cubicBezTo>
                    <a:cubicBezTo>
                      <a:pt x="378" y="79"/>
                      <a:pt x="328" y="130"/>
                      <a:pt x="328" y="193"/>
                    </a:cubicBezTo>
                    <a:cubicBezTo>
                      <a:pt x="328" y="219"/>
                      <a:pt x="337" y="244"/>
                      <a:pt x="353" y="264"/>
                    </a:cubicBezTo>
                    <a:cubicBezTo>
                      <a:pt x="357" y="269"/>
                      <a:pt x="364" y="272"/>
                      <a:pt x="370" y="272"/>
                    </a:cubicBezTo>
                    <a:cubicBezTo>
                      <a:pt x="375" y="272"/>
                      <a:pt x="380" y="270"/>
                      <a:pt x="385" y="267"/>
                    </a:cubicBezTo>
                    <a:cubicBezTo>
                      <a:pt x="389" y="263"/>
                      <a:pt x="392" y="258"/>
                      <a:pt x="393" y="252"/>
                    </a:cubicBezTo>
                    <a:cubicBezTo>
                      <a:pt x="394" y="246"/>
                      <a:pt x="392" y="240"/>
                      <a:pt x="388" y="235"/>
                    </a:cubicBezTo>
                    <a:cubicBezTo>
                      <a:pt x="378" y="223"/>
                      <a:pt x="373" y="208"/>
                      <a:pt x="373" y="193"/>
                    </a:cubicBezTo>
                    <a:cubicBezTo>
                      <a:pt x="373" y="155"/>
                      <a:pt x="403" y="125"/>
                      <a:pt x="440" y="125"/>
                    </a:cubicBezTo>
                    <a:cubicBezTo>
                      <a:pt x="476" y="125"/>
                      <a:pt x="506" y="155"/>
                      <a:pt x="506" y="193"/>
                    </a:cubicBezTo>
                    <a:cubicBezTo>
                      <a:pt x="506" y="208"/>
                      <a:pt x="501" y="223"/>
                      <a:pt x="491" y="235"/>
                    </a:cubicBezTo>
                    <a:cubicBezTo>
                      <a:pt x="487" y="240"/>
                      <a:pt x="485" y="246"/>
                      <a:pt x="486" y="252"/>
                    </a:cubicBezTo>
                    <a:close/>
                    <a:moveTo>
                      <a:pt x="332" y="335"/>
                    </a:moveTo>
                    <a:cubicBezTo>
                      <a:pt x="336" y="331"/>
                      <a:pt x="339" y="325"/>
                      <a:pt x="339" y="319"/>
                    </a:cubicBezTo>
                    <a:cubicBezTo>
                      <a:pt x="339" y="312"/>
                      <a:pt x="336" y="306"/>
                      <a:pt x="332" y="302"/>
                    </a:cubicBezTo>
                    <a:cubicBezTo>
                      <a:pt x="304" y="274"/>
                      <a:pt x="289" y="237"/>
                      <a:pt x="289" y="197"/>
                    </a:cubicBezTo>
                    <a:cubicBezTo>
                      <a:pt x="289" y="114"/>
                      <a:pt x="357" y="47"/>
                      <a:pt x="440" y="47"/>
                    </a:cubicBezTo>
                    <a:cubicBezTo>
                      <a:pt x="523" y="47"/>
                      <a:pt x="590" y="114"/>
                      <a:pt x="590" y="197"/>
                    </a:cubicBezTo>
                    <a:cubicBezTo>
                      <a:pt x="590" y="237"/>
                      <a:pt x="575" y="275"/>
                      <a:pt x="546" y="303"/>
                    </a:cubicBezTo>
                    <a:cubicBezTo>
                      <a:pt x="542" y="308"/>
                      <a:pt x="539" y="314"/>
                      <a:pt x="539" y="320"/>
                    </a:cubicBezTo>
                    <a:cubicBezTo>
                      <a:pt x="539" y="326"/>
                      <a:pt x="542" y="332"/>
                      <a:pt x="546" y="336"/>
                    </a:cubicBezTo>
                    <a:cubicBezTo>
                      <a:pt x="550" y="340"/>
                      <a:pt x="556" y="343"/>
                      <a:pt x="562" y="343"/>
                    </a:cubicBezTo>
                    <a:cubicBezTo>
                      <a:pt x="569" y="343"/>
                      <a:pt x="575" y="340"/>
                      <a:pt x="580" y="336"/>
                    </a:cubicBezTo>
                    <a:cubicBezTo>
                      <a:pt x="617" y="299"/>
                      <a:pt x="637" y="250"/>
                      <a:pt x="637" y="197"/>
                    </a:cubicBezTo>
                    <a:cubicBezTo>
                      <a:pt x="637" y="88"/>
                      <a:pt x="548" y="0"/>
                      <a:pt x="440" y="0"/>
                    </a:cubicBezTo>
                    <a:cubicBezTo>
                      <a:pt x="331" y="0"/>
                      <a:pt x="242" y="88"/>
                      <a:pt x="242" y="197"/>
                    </a:cubicBezTo>
                    <a:cubicBezTo>
                      <a:pt x="242" y="249"/>
                      <a:pt x="262" y="298"/>
                      <a:pt x="299" y="335"/>
                    </a:cubicBezTo>
                    <a:cubicBezTo>
                      <a:pt x="308" y="344"/>
                      <a:pt x="323" y="344"/>
                      <a:pt x="332" y="335"/>
                    </a:cubicBezTo>
                    <a:close/>
                    <a:moveTo>
                      <a:pt x="676" y="855"/>
                    </a:moveTo>
                    <a:cubicBezTo>
                      <a:pt x="473" y="266"/>
                      <a:pt x="473" y="266"/>
                      <a:pt x="473" y="266"/>
                    </a:cubicBezTo>
                    <a:cubicBezTo>
                      <a:pt x="472" y="263"/>
                      <a:pt x="470" y="261"/>
                      <a:pt x="468" y="260"/>
                    </a:cubicBezTo>
                    <a:cubicBezTo>
                      <a:pt x="465" y="259"/>
                      <a:pt x="462" y="259"/>
                      <a:pt x="460" y="260"/>
                    </a:cubicBezTo>
                    <a:cubicBezTo>
                      <a:pt x="455" y="263"/>
                      <a:pt x="450" y="264"/>
                      <a:pt x="445" y="265"/>
                    </a:cubicBezTo>
                    <a:cubicBezTo>
                      <a:pt x="443" y="265"/>
                      <a:pt x="441" y="266"/>
                      <a:pt x="440" y="268"/>
                    </a:cubicBezTo>
                    <a:cubicBezTo>
                      <a:pt x="439" y="266"/>
                      <a:pt x="437" y="265"/>
                      <a:pt x="435" y="265"/>
                    </a:cubicBezTo>
                    <a:cubicBezTo>
                      <a:pt x="430" y="264"/>
                      <a:pt x="425" y="263"/>
                      <a:pt x="420" y="260"/>
                    </a:cubicBezTo>
                    <a:cubicBezTo>
                      <a:pt x="418" y="259"/>
                      <a:pt x="415" y="259"/>
                      <a:pt x="412" y="260"/>
                    </a:cubicBezTo>
                    <a:cubicBezTo>
                      <a:pt x="410" y="261"/>
                      <a:pt x="408" y="263"/>
                      <a:pt x="407" y="266"/>
                    </a:cubicBezTo>
                    <a:cubicBezTo>
                      <a:pt x="204" y="855"/>
                      <a:pt x="204" y="855"/>
                      <a:pt x="204" y="855"/>
                    </a:cubicBezTo>
                    <a:cubicBezTo>
                      <a:pt x="200" y="865"/>
                      <a:pt x="206" y="876"/>
                      <a:pt x="215" y="879"/>
                    </a:cubicBezTo>
                    <a:cubicBezTo>
                      <a:pt x="217" y="880"/>
                      <a:pt x="219" y="880"/>
                      <a:pt x="221" y="880"/>
                    </a:cubicBezTo>
                    <a:cubicBezTo>
                      <a:pt x="229" y="880"/>
                      <a:pt x="237" y="875"/>
                      <a:pt x="239" y="867"/>
                    </a:cubicBezTo>
                    <a:cubicBezTo>
                      <a:pt x="278" y="753"/>
                      <a:pt x="278" y="753"/>
                      <a:pt x="278" y="753"/>
                    </a:cubicBezTo>
                    <a:cubicBezTo>
                      <a:pt x="602" y="753"/>
                      <a:pt x="602" y="753"/>
                      <a:pt x="602" y="753"/>
                    </a:cubicBezTo>
                    <a:cubicBezTo>
                      <a:pt x="641" y="867"/>
                      <a:pt x="641" y="867"/>
                      <a:pt x="641" y="867"/>
                    </a:cubicBezTo>
                    <a:cubicBezTo>
                      <a:pt x="643" y="875"/>
                      <a:pt x="650" y="880"/>
                      <a:pt x="659" y="880"/>
                    </a:cubicBezTo>
                    <a:cubicBezTo>
                      <a:pt x="660" y="880"/>
                      <a:pt x="662" y="880"/>
                      <a:pt x="665" y="879"/>
                    </a:cubicBezTo>
                    <a:cubicBezTo>
                      <a:pt x="675" y="875"/>
                      <a:pt x="680" y="865"/>
                      <a:pt x="676" y="855"/>
                    </a:cubicBezTo>
                    <a:cubicBezTo>
                      <a:pt x="676" y="855"/>
                      <a:pt x="676" y="855"/>
                      <a:pt x="676" y="855"/>
                    </a:cubicBezTo>
                    <a:close/>
                    <a:moveTo>
                      <a:pt x="538" y="569"/>
                    </a:moveTo>
                    <a:cubicBezTo>
                      <a:pt x="477" y="533"/>
                      <a:pt x="477" y="533"/>
                      <a:pt x="477" y="533"/>
                    </a:cubicBezTo>
                    <a:cubicBezTo>
                      <a:pt x="517" y="509"/>
                      <a:pt x="517" y="509"/>
                      <a:pt x="517" y="509"/>
                    </a:cubicBezTo>
                    <a:lnTo>
                      <a:pt x="538" y="569"/>
                    </a:lnTo>
                    <a:close/>
                    <a:moveTo>
                      <a:pt x="381" y="589"/>
                    </a:moveTo>
                    <a:cubicBezTo>
                      <a:pt x="440" y="554"/>
                      <a:pt x="440" y="554"/>
                      <a:pt x="440" y="554"/>
                    </a:cubicBezTo>
                    <a:cubicBezTo>
                      <a:pt x="499" y="589"/>
                      <a:pt x="499" y="589"/>
                      <a:pt x="499" y="589"/>
                    </a:cubicBezTo>
                    <a:lnTo>
                      <a:pt x="381" y="589"/>
                    </a:lnTo>
                    <a:close/>
                    <a:moveTo>
                      <a:pt x="474" y="626"/>
                    </a:moveTo>
                    <a:cubicBezTo>
                      <a:pt x="440" y="641"/>
                      <a:pt x="440" y="641"/>
                      <a:pt x="440" y="641"/>
                    </a:cubicBezTo>
                    <a:cubicBezTo>
                      <a:pt x="406" y="626"/>
                      <a:pt x="406" y="626"/>
                      <a:pt x="406" y="626"/>
                    </a:cubicBezTo>
                    <a:lnTo>
                      <a:pt x="474" y="626"/>
                    </a:lnTo>
                    <a:close/>
                    <a:moveTo>
                      <a:pt x="421" y="500"/>
                    </a:moveTo>
                    <a:cubicBezTo>
                      <a:pt x="459" y="500"/>
                      <a:pt x="459" y="500"/>
                      <a:pt x="459" y="500"/>
                    </a:cubicBezTo>
                    <a:cubicBezTo>
                      <a:pt x="440" y="511"/>
                      <a:pt x="440" y="511"/>
                      <a:pt x="440" y="511"/>
                    </a:cubicBezTo>
                    <a:lnTo>
                      <a:pt x="421" y="500"/>
                    </a:lnTo>
                    <a:close/>
                    <a:moveTo>
                      <a:pt x="440" y="285"/>
                    </a:moveTo>
                    <a:cubicBezTo>
                      <a:pt x="457" y="335"/>
                      <a:pt x="457" y="335"/>
                      <a:pt x="457" y="335"/>
                    </a:cubicBezTo>
                    <a:cubicBezTo>
                      <a:pt x="423" y="335"/>
                      <a:pt x="423" y="335"/>
                      <a:pt x="423" y="335"/>
                    </a:cubicBezTo>
                    <a:lnTo>
                      <a:pt x="440" y="285"/>
                    </a:lnTo>
                    <a:close/>
                    <a:moveTo>
                      <a:pt x="410" y="373"/>
                    </a:moveTo>
                    <a:cubicBezTo>
                      <a:pt x="470" y="373"/>
                      <a:pt x="470" y="373"/>
                      <a:pt x="470" y="373"/>
                    </a:cubicBezTo>
                    <a:cubicBezTo>
                      <a:pt x="501" y="462"/>
                      <a:pt x="501" y="462"/>
                      <a:pt x="501" y="462"/>
                    </a:cubicBezTo>
                    <a:cubicBezTo>
                      <a:pt x="379" y="462"/>
                      <a:pt x="379" y="462"/>
                      <a:pt x="379" y="462"/>
                    </a:cubicBezTo>
                    <a:lnTo>
                      <a:pt x="410" y="373"/>
                    </a:lnTo>
                    <a:close/>
                    <a:moveTo>
                      <a:pt x="363" y="509"/>
                    </a:moveTo>
                    <a:cubicBezTo>
                      <a:pt x="403" y="533"/>
                      <a:pt x="403" y="533"/>
                      <a:pt x="403" y="533"/>
                    </a:cubicBezTo>
                    <a:cubicBezTo>
                      <a:pt x="342" y="569"/>
                      <a:pt x="342" y="569"/>
                      <a:pt x="342" y="569"/>
                    </a:cubicBezTo>
                    <a:lnTo>
                      <a:pt x="363" y="509"/>
                    </a:lnTo>
                    <a:close/>
                    <a:moveTo>
                      <a:pt x="321" y="631"/>
                    </a:moveTo>
                    <a:cubicBezTo>
                      <a:pt x="391" y="661"/>
                      <a:pt x="391" y="661"/>
                      <a:pt x="391" y="661"/>
                    </a:cubicBezTo>
                    <a:cubicBezTo>
                      <a:pt x="297" y="701"/>
                      <a:pt x="297" y="701"/>
                      <a:pt x="297" y="701"/>
                    </a:cubicBezTo>
                    <a:lnTo>
                      <a:pt x="321" y="631"/>
                    </a:lnTo>
                    <a:close/>
                    <a:moveTo>
                      <a:pt x="358" y="716"/>
                    </a:moveTo>
                    <a:cubicBezTo>
                      <a:pt x="440" y="681"/>
                      <a:pt x="440" y="681"/>
                      <a:pt x="440" y="681"/>
                    </a:cubicBezTo>
                    <a:cubicBezTo>
                      <a:pt x="522" y="716"/>
                      <a:pt x="522" y="716"/>
                      <a:pt x="522" y="716"/>
                    </a:cubicBezTo>
                    <a:lnTo>
                      <a:pt x="358" y="716"/>
                    </a:lnTo>
                    <a:close/>
                    <a:moveTo>
                      <a:pt x="489" y="661"/>
                    </a:moveTo>
                    <a:cubicBezTo>
                      <a:pt x="559" y="631"/>
                      <a:pt x="559" y="631"/>
                      <a:pt x="559" y="631"/>
                    </a:cubicBezTo>
                    <a:cubicBezTo>
                      <a:pt x="583" y="701"/>
                      <a:pt x="583" y="701"/>
                      <a:pt x="583" y="701"/>
                    </a:cubicBezTo>
                    <a:lnTo>
                      <a:pt x="489" y="661"/>
                    </a:lnTo>
                    <a:close/>
                    <a:moveTo>
                      <a:pt x="202" y="668"/>
                    </a:moveTo>
                    <a:cubicBezTo>
                      <a:pt x="202" y="658"/>
                      <a:pt x="210" y="650"/>
                      <a:pt x="220" y="650"/>
                    </a:cubicBezTo>
                    <a:cubicBezTo>
                      <a:pt x="223" y="650"/>
                      <a:pt x="225" y="650"/>
                      <a:pt x="227" y="652"/>
                    </a:cubicBezTo>
                    <a:cubicBezTo>
                      <a:pt x="233" y="635"/>
                      <a:pt x="233" y="635"/>
                      <a:pt x="233" y="635"/>
                    </a:cubicBezTo>
                    <a:cubicBezTo>
                      <a:pt x="35" y="635"/>
                      <a:pt x="35" y="635"/>
                      <a:pt x="35" y="635"/>
                    </a:cubicBezTo>
                    <a:cubicBezTo>
                      <a:pt x="32" y="635"/>
                      <a:pt x="30" y="633"/>
                      <a:pt x="30" y="630"/>
                    </a:cubicBezTo>
                    <a:cubicBezTo>
                      <a:pt x="30" y="423"/>
                      <a:pt x="30" y="423"/>
                      <a:pt x="30" y="423"/>
                    </a:cubicBezTo>
                    <a:cubicBezTo>
                      <a:pt x="30" y="420"/>
                      <a:pt x="32" y="418"/>
                      <a:pt x="35" y="418"/>
                    </a:cubicBezTo>
                    <a:cubicBezTo>
                      <a:pt x="308" y="418"/>
                      <a:pt x="308" y="418"/>
                      <a:pt x="308" y="418"/>
                    </a:cubicBezTo>
                    <a:cubicBezTo>
                      <a:pt x="318" y="387"/>
                      <a:pt x="318" y="387"/>
                      <a:pt x="318" y="387"/>
                    </a:cubicBezTo>
                    <a:cubicBezTo>
                      <a:pt x="11" y="387"/>
                      <a:pt x="11" y="387"/>
                      <a:pt x="11" y="387"/>
                    </a:cubicBezTo>
                    <a:cubicBezTo>
                      <a:pt x="5" y="387"/>
                      <a:pt x="0" y="392"/>
                      <a:pt x="0" y="398"/>
                    </a:cubicBezTo>
                    <a:cubicBezTo>
                      <a:pt x="0" y="695"/>
                      <a:pt x="0" y="695"/>
                      <a:pt x="0" y="695"/>
                    </a:cubicBezTo>
                    <a:cubicBezTo>
                      <a:pt x="0" y="701"/>
                      <a:pt x="5" y="706"/>
                      <a:pt x="11" y="706"/>
                    </a:cubicBezTo>
                    <a:cubicBezTo>
                      <a:pt x="168" y="706"/>
                      <a:pt x="168" y="706"/>
                      <a:pt x="168" y="706"/>
                    </a:cubicBezTo>
                    <a:cubicBezTo>
                      <a:pt x="168" y="749"/>
                      <a:pt x="168" y="749"/>
                      <a:pt x="168" y="749"/>
                    </a:cubicBezTo>
                    <a:cubicBezTo>
                      <a:pt x="138" y="749"/>
                      <a:pt x="138" y="749"/>
                      <a:pt x="138" y="749"/>
                    </a:cubicBezTo>
                    <a:cubicBezTo>
                      <a:pt x="132" y="749"/>
                      <a:pt x="127" y="753"/>
                      <a:pt x="127" y="760"/>
                    </a:cubicBezTo>
                    <a:cubicBezTo>
                      <a:pt x="127" y="766"/>
                      <a:pt x="132" y="771"/>
                      <a:pt x="138" y="771"/>
                    </a:cubicBezTo>
                    <a:cubicBezTo>
                      <a:pt x="186" y="771"/>
                      <a:pt x="186" y="771"/>
                      <a:pt x="186" y="771"/>
                    </a:cubicBezTo>
                    <a:cubicBezTo>
                      <a:pt x="216" y="685"/>
                      <a:pt x="216" y="685"/>
                      <a:pt x="216" y="685"/>
                    </a:cubicBezTo>
                    <a:cubicBezTo>
                      <a:pt x="208" y="683"/>
                      <a:pt x="202" y="676"/>
                      <a:pt x="202" y="668"/>
                    </a:cubicBezTo>
                    <a:close/>
                    <a:moveTo>
                      <a:pt x="850" y="357"/>
                    </a:moveTo>
                    <a:cubicBezTo>
                      <a:pt x="628" y="357"/>
                      <a:pt x="628" y="357"/>
                      <a:pt x="628" y="357"/>
                    </a:cubicBezTo>
                    <a:cubicBezTo>
                      <a:pt x="622" y="357"/>
                      <a:pt x="617" y="362"/>
                      <a:pt x="617" y="368"/>
                    </a:cubicBezTo>
                    <a:cubicBezTo>
                      <a:pt x="617" y="549"/>
                      <a:pt x="617" y="549"/>
                      <a:pt x="617" y="549"/>
                    </a:cubicBezTo>
                    <a:cubicBezTo>
                      <a:pt x="649" y="640"/>
                      <a:pt x="649" y="640"/>
                      <a:pt x="649" y="640"/>
                    </a:cubicBezTo>
                    <a:cubicBezTo>
                      <a:pt x="649" y="393"/>
                      <a:pt x="649" y="393"/>
                      <a:pt x="649" y="393"/>
                    </a:cubicBezTo>
                    <a:cubicBezTo>
                      <a:pt x="649" y="390"/>
                      <a:pt x="651" y="388"/>
                      <a:pt x="654" y="388"/>
                    </a:cubicBezTo>
                    <a:cubicBezTo>
                      <a:pt x="827" y="388"/>
                      <a:pt x="827" y="388"/>
                      <a:pt x="827" y="388"/>
                    </a:cubicBezTo>
                    <a:cubicBezTo>
                      <a:pt x="830" y="388"/>
                      <a:pt x="832" y="390"/>
                      <a:pt x="832" y="393"/>
                    </a:cubicBezTo>
                    <a:cubicBezTo>
                      <a:pt x="832" y="685"/>
                      <a:pt x="832" y="685"/>
                      <a:pt x="832" y="685"/>
                    </a:cubicBezTo>
                    <a:cubicBezTo>
                      <a:pt x="832" y="687"/>
                      <a:pt x="830" y="690"/>
                      <a:pt x="827" y="690"/>
                    </a:cubicBezTo>
                    <a:cubicBezTo>
                      <a:pt x="666" y="690"/>
                      <a:pt x="666" y="690"/>
                      <a:pt x="666" y="690"/>
                    </a:cubicBezTo>
                    <a:cubicBezTo>
                      <a:pt x="703" y="798"/>
                      <a:pt x="703" y="798"/>
                      <a:pt x="703" y="798"/>
                    </a:cubicBezTo>
                    <a:cubicBezTo>
                      <a:pt x="850" y="798"/>
                      <a:pt x="850" y="798"/>
                      <a:pt x="850" y="798"/>
                    </a:cubicBezTo>
                    <a:cubicBezTo>
                      <a:pt x="856" y="798"/>
                      <a:pt x="861" y="793"/>
                      <a:pt x="861" y="787"/>
                    </a:cubicBezTo>
                    <a:cubicBezTo>
                      <a:pt x="861" y="368"/>
                      <a:pt x="861" y="368"/>
                      <a:pt x="861" y="368"/>
                    </a:cubicBezTo>
                    <a:cubicBezTo>
                      <a:pt x="861" y="362"/>
                      <a:pt x="856" y="357"/>
                      <a:pt x="850" y="357"/>
                    </a:cubicBezTo>
                    <a:close/>
                    <a:moveTo>
                      <a:pt x="739" y="766"/>
                    </a:moveTo>
                    <a:cubicBezTo>
                      <a:pt x="727" y="766"/>
                      <a:pt x="717" y="756"/>
                      <a:pt x="717" y="744"/>
                    </a:cubicBezTo>
                    <a:cubicBezTo>
                      <a:pt x="717" y="731"/>
                      <a:pt x="727" y="721"/>
                      <a:pt x="739" y="721"/>
                    </a:cubicBezTo>
                    <a:cubicBezTo>
                      <a:pt x="752" y="721"/>
                      <a:pt x="762" y="731"/>
                      <a:pt x="762" y="744"/>
                    </a:cubicBezTo>
                    <a:cubicBezTo>
                      <a:pt x="762" y="756"/>
                      <a:pt x="752" y="766"/>
                      <a:pt x="739" y="76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1" name="Group 100">
            <a:extLst>
              <a:ext uri="{FF2B5EF4-FFF2-40B4-BE49-F238E27FC236}">
                <a16:creationId xmlns:a16="http://schemas.microsoft.com/office/drawing/2014/main" id="{8F19477F-49E9-445E-9B74-518C51AE2B3F}"/>
              </a:ext>
            </a:extLst>
          </p:cNvPr>
          <p:cNvGrpSpPr/>
          <p:nvPr/>
        </p:nvGrpSpPr>
        <p:grpSpPr>
          <a:xfrm>
            <a:off x="2761603" y="2307284"/>
            <a:ext cx="1417584" cy="1417584"/>
            <a:chOff x="12755250" y="1733430"/>
            <a:chExt cx="1417584" cy="1417584"/>
          </a:xfrm>
        </p:grpSpPr>
        <p:sp>
          <p:nvSpPr>
            <p:cNvPr id="82" name="Oval 81">
              <a:extLst>
                <a:ext uri="{FF2B5EF4-FFF2-40B4-BE49-F238E27FC236}">
                  <a16:creationId xmlns:a16="http://schemas.microsoft.com/office/drawing/2014/main" id="{B193482E-8EBF-4C7D-B3BA-EE95FF8EE4FA}"/>
                </a:ext>
              </a:extLst>
            </p:cNvPr>
            <p:cNvSpPr/>
            <p:nvPr/>
          </p:nvSpPr>
          <p:spPr>
            <a:xfrm>
              <a:off x="12755250" y="1733430"/>
              <a:ext cx="1417584" cy="14175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215C0DB7-9139-4D6C-AD6F-08E95F1516D7}"/>
                </a:ext>
              </a:extLst>
            </p:cNvPr>
            <p:cNvGrpSpPr>
              <a:grpSpLocks noChangeAspect="1"/>
            </p:cNvGrpSpPr>
            <p:nvPr/>
          </p:nvGrpSpPr>
          <p:grpSpPr>
            <a:xfrm>
              <a:off x="13013023" y="1991203"/>
              <a:ext cx="902038" cy="902038"/>
              <a:chOff x="5867400" y="3200400"/>
              <a:chExt cx="457200" cy="457200"/>
            </a:xfrm>
          </p:grpSpPr>
          <p:sp>
            <p:nvSpPr>
              <p:cNvPr id="99" name="AutoShape 7">
                <a:extLst>
                  <a:ext uri="{FF2B5EF4-FFF2-40B4-BE49-F238E27FC236}">
                    <a16:creationId xmlns:a16="http://schemas.microsoft.com/office/drawing/2014/main" id="{6A75B38D-CAA5-4C4C-900D-777B9AC38386}"/>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9">
                <a:extLst>
                  <a:ext uri="{FF2B5EF4-FFF2-40B4-BE49-F238E27FC236}">
                    <a16:creationId xmlns:a16="http://schemas.microsoft.com/office/drawing/2014/main" id="{D0F51EA5-42B4-4ABF-8752-F0040F351722}"/>
                  </a:ext>
                </a:extLst>
              </p:cNvPr>
              <p:cNvSpPr>
                <a:spLocks/>
              </p:cNvSpPr>
              <p:nvPr/>
            </p:nvSpPr>
            <p:spPr bwMode="auto">
              <a:xfrm>
                <a:off x="5889625" y="3271838"/>
                <a:ext cx="407988" cy="314325"/>
              </a:xfrm>
              <a:custGeom>
                <a:avLst/>
                <a:gdLst>
                  <a:gd name="connsiteX0" fmla="*/ 201160 w 407988"/>
                  <a:gd name="connsiteY0" fmla="*/ 231775 h 314325"/>
                  <a:gd name="connsiteX1" fmla="*/ 208870 w 407988"/>
                  <a:gd name="connsiteY1" fmla="*/ 233583 h 314325"/>
                  <a:gd name="connsiteX2" fmla="*/ 216581 w 407988"/>
                  <a:gd name="connsiteY2" fmla="*/ 256635 h 314325"/>
                  <a:gd name="connsiteX3" fmla="*/ 202067 w 407988"/>
                  <a:gd name="connsiteY3" fmla="*/ 286467 h 314325"/>
                  <a:gd name="connsiteX4" fmla="*/ 199799 w 407988"/>
                  <a:gd name="connsiteY4" fmla="*/ 290987 h 314325"/>
                  <a:gd name="connsiteX5" fmla="*/ 197985 w 407988"/>
                  <a:gd name="connsiteY5" fmla="*/ 294151 h 314325"/>
                  <a:gd name="connsiteX6" fmla="*/ 197531 w 407988"/>
                  <a:gd name="connsiteY6" fmla="*/ 295055 h 314325"/>
                  <a:gd name="connsiteX7" fmla="*/ 193449 w 407988"/>
                  <a:gd name="connsiteY7" fmla="*/ 296863 h 314325"/>
                  <a:gd name="connsiteX8" fmla="*/ 191635 w 407988"/>
                  <a:gd name="connsiteY8" fmla="*/ 296411 h 314325"/>
                  <a:gd name="connsiteX9" fmla="*/ 169410 w 407988"/>
                  <a:gd name="connsiteY9" fmla="*/ 285563 h 314325"/>
                  <a:gd name="connsiteX10" fmla="*/ 166688 w 407988"/>
                  <a:gd name="connsiteY10" fmla="*/ 281495 h 314325"/>
                  <a:gd name="connsiteX11" fmla="*/ 171678 w 407988"/>
                  <a:gd name="connsiteY11" fmla="*/ 276975 h 314325"/>
                  <a:gd name="connsiteX12" fmla="*/ 172585 w 407988"/>
                  <a:gd name="connsiteY12" fmla="*/ 274715 h 314325"/>
                  <a:gd name="connsiteX13" fmla="*/ 173945 w 407988"/>
                  <a:gd name="connsiteY13" fmla="*/ 272455 h 314325"/>
                  <a:gd name="connsiteX14" fmla="*/ 176213 w 407988"/>
                  <a:gd name="connsiteY14" fmla="*/ 267935 h 314325"/>
                  <a:gd name="connsiteX15" fmla="*/ 192995 w 407988"/>
                  <a:gd name="connsiteY15" fmla="*/ 234035 h 314325"/>
                  <a:gd name="connsiteX16" fmla="*/ 201160 w 407988"/>
                  <a:gd name="connsiteY16" fmla="*/ 231775 h 314325"/>
                  <a:gd name="connsiteX17" fmla="*/ 173956 w 407988"/>
                  <a:gd name="connsiteY17" fmla="*/ 193675 h 314325"/>
                  <a:gd name="connsiteX18" fmla="*/ 181752 w 407988"/>
                  <a:gd name="connsiteY18" fmla="*/ 195489 h 314325"/>
                  <a:gd name="connsiteX19" fmla="*/ 189549 w 407988"/>
                  <a:gd name="connsiteY19" fmla="*/ 218168 h 314325"/>
                  <a:gd name="connsiteX20" fmla="*/ 185421 w 407988"/>
                  <a:gd name="connsiteY20" fmla="*/ 226332 h 314325"/>
                  <a:gd name="connsiteX21" fmla="*/ 167994 w 407988"/>
                  <a:gd name="connsiteY21" fmla="*/ 261711 h 314325"/>
                  <a:gd name="connsiteX22" fmla="*/ 165701 w 407988"/>
                  <a:gd name="connsiteY22" fmla="*/ 266247 h 314325"/>
                  <a:gd name="connsiteX23" fmla="*/ 163866 w 407988"/>
                  <a:gd name="connsiteY23" fmla="*/ 270329 h 314325"/>
                  <a:gd name="connsiteX24" fmla="*/ 163408 w 407988"/>
                  <a:gd name="connsiteY24" fmla="*/ 270782 h 314325"/>
                  <a:gd name="connsiteX25" fmla="*/ 159280 w 407988"/>
                  <a:gd name="connsiteY25" fmla="*/ 273050 h 314325"/>
                  <a:gd name="connsiteX26" fmla="*/ 158822 w 407988"/>
                  <a:gd name="connsiteY26" fmla="*/ 273050 h 314325"/>
                  <a:gd name="connsiteX27" fmla="*/ 156987 w 407988"/>
                  <a:gd name="connsiteY27" fmla="*/ 272597 h 314325"/>
                  <a:gd name="connsiteX28" fmla="*/ 134974 w 407988"/>
                  <a:gd name="connsiteY28" fmla="*/ 261711 h 314325"/>
                  <a:gd name="connsiteX29" fmla="*/ 133139 w 407988"/>
                  <a:gd name="connsiteY29" fmla="*/ 259897 h 314325"/>
                  <a:gd name="connsiteX30" fmla="*/ 132680 w 407988"/>
                  <a:gd name="connsiteY30" fmla="*/ 254907 h 314325"/>
                  <a:gd name="connsiteX31" fmla="*/ 134974 w 407988"/>
                  <a:gd name="connsiteY31" fmla="*/ 250372 h 314325"/>
                  <a:gd name="connsiteX32" fmla="*/ 137267 w 407988"/>
                  <a:gd name="connsiteY32" fmla="*/ 245836 h 314325"/>
                  <a:gd name="connsiteX33" fmla="*/ 139560 w 407988"/>
                  <a:gd name="connsiteY33" fmla="*/ 241300 h 314325"/>
                  <a:gd name="connsiteX34" fmla="*/ 158363 w 407988"/>
                  <a:gd name="connsiteY34" fmla="*/ 203200 h 314325"/>
                  <a:gd name="connsiteX35" fmla="*/ 159280 w 407988"/>
                  <a:gd name="connsiteY35" fmla="*/ 201386 h 314325"/>
                  <a:gd name="connsiteX36" fmla="*/ 173956 w 407988"/>
                  <a:gd name="connsiteY36" fmla="*/ 193675 h 314325"/>
                  <a:gd name="connsiteX37" fmla="*/ 131631 w 407988"/>
                  <a:gd name="connsiteY37" fmla="*/ 184150 h 314325"/>
                  <a:gd name="connsiteX38" fmla="*/ 139503 w 407988"/>
                  <a:gd name="connsiteY38" fmla="*/ 185994 h 314325"/>
                  <a:gd name="connsiteX39" fmla="*/ 149226 w 407988"/>
                  <a:gd name="connsiteY39" fmla="*/ 198899 h 314325"/>
                  <a:gd name="connsiteX40" fmla="*/ 131168 w 407988"/>
                  <a:gd name="connsiteY40" fmla="*/ 235309 h 314325"/>
                  <a:gd name="connsiteX41" fmla="*/ 128853 w 407988"/>
                  <a:gd name="connsiteY41" fmla="*/ 239918 h 314325"/>
                  <a:gd name="connsiteX42" fmla="*/ 126538 w 407988"/>
                  <a:gd name="connsiteY42" fmla="*/ 244988 h 314325"/>
                  <a:gd name="connsiteX43" fmla="*/ 123297 w 407988"/>
                  <a:gd name="connsiteY43" fmla="*/ 251440 h 314325"/>
                  <a:gd name="connsiteX44" fmla="*/ 121908 w 407988"/>
                  <a:gd name="connsiteY44" fmla="*/ 255588 h 314325"/>
                  <a:gd name="connsiteX45" fmla="*/ 121445 w 407988"/>
                  <a:gd name="connsiteY45" fmla="*/ 255588 h 314325"/>
                  <a:gd name="connsiteX46" fmla="*/ 119593 w 407988"/>
                  <a:gd name="connsiteY46" fmla="*/ 255127 h 314325"/>
                  <a:gd name="connsiteX47" fmla="*/ 96904 w 407988"/>
                  <a:gd name="connsiteY47" fmla="*/ 244066 h 314325"/>
                  <a:gd name="connsiteX48" fmla="*/ 94589 w 407988"/>
                  <a:gd name="connsiteY48" fmla="*/ 237153 h 314325"/>
                  <a:gd name="connsiteX49" fmla="*/ 95052 w 407988"/>
                  <a:gd name="connsiteY49" fmla="*/ 236231 h 314325"/>
                  <a:gd name="connsiteX50" fmla="*/ 100146 w 407988"/>
                  <a:gd name="connsiteY50" fmla="*/ 226091 h 314325"/>
                  <a:gd name="connsiteX51" fmla="*/ 102461 w 407988"/>
                  <a:gd name="connsiteY51" fmla="*/ 221482 h 314325"/>
                  <a:gd name="connsiteX52" fmla="*/ 104776 w 407988"/>
                  <a:gd name="connsiteY52" fmla="*/ 216873 h 314325"/>
                  <a:gd name="connsiteX53" fmla="*/ 115888 w 407988"/>
                  <a:gd name="connsiteY53" fmla="*/ 193829 h 314325"/>
                  <a:gd name="connsiteX54" fmla="*/ 119593 w 407988"/>
                  <a:gd name="connsiteY54" fmla="*/ 188759 h 314325"/>
                  <a:gd name="connsiteX55" fmla="*/ 131631 w 407988"/>
                  <a:gd name="connsiteY55" fmla="*/ 184150 h 314325"/>
                  <a:gd name="connsiteX56" fmla="*/ 92914 w 407988"/>
                  <a:gd name="connsiteY56" fmla="*/ 169862 h 314325"/>
                  <a:gd name="connsiteX57" fmla="*/ 100103 w 407988"/>
                  <a:gd name="connsiteY57" fmla="*/ 171234 h 314325"/>
                  <a:gd name="connsiteX58" fmla="*/ 109538 w 407988"/>
                  <a:gd name="connsiteY58" fmla="*/ 184950 h 314325"/>
                  <a:gd name="connsiteX59" fmla="*/ 107292 w 407988"/>
                  <a:gd name="connsiteY59" fmla="*/ 189065 h 314325"/>
                  <a:gd name="connsiteX60" fmla="*/ 96958 w 407988"/>
                  <a:gd name="connsiteY60" fmla="*/ 210096 h 314325"/>
                  <a:gd name="connsiteX61" fmla="*/ 94712 w 407988"/>
                  <a:gd name="connsiteY61" fmla="*/ 215125 h 314325"/>
                  <a:gd name="connsiteX62" fmla="*/ 92465 w 407988"/>
                  <a:gd name="connsiteY62" fmla="*/ 219697 h 314325"/>
                  <a:gd name="connsiteX63" fmla="*/ 88871 w 407988"/>
                  <a:gd name="connsiteY63" fmla="*/ 227012 h 314325"/>
                  <a:gd name="connsiteX64" fmla="*/ 87074 w 407988"/>
                  <a:gd name="connsiteY64" fmla="*/ 226555 h 314325"/>
                  <a:gd name="connsiteX65" fmla="*/ 65508 w 407988"/>
                  <a:gd name="connsiteY65" fmla="*/ 215582 h 314325"/>
                  <a:gd name="connsiteX66" fmla="*/ 63261 w 407988"/>
                  <a:gd name="connsiteY66" fmla="*/ 209181 h 314325"/>
                  <a:gd name="connsiteX67" fmla="*/ 67305 w 407988"/>
                  <a:gd name="connsiteY67" fmla="*/ 200952 h 314325"/>
                  <a:gd name="connsiteX68" fmla="*/ 69551 w 407988"/>
                  <a:gd name="connsiteY68" fmla="*/ 196380 h 314325"/>
                  <a:gd name="connsiteX69" fmla="*/ 71348 w 407988"/>
                  <a:gd name="connsiteY69" fmla="*/ 191808 h 314325"/>
                  <a:gd name="connsiteX70" fmla="*/ 77638 w 407988"/>
                  <a:gd name="connsiteY70" fmla="*/ 179463 h 314325"/>
                  <a:gd name="connsiteX71" fmla="*/ 92914 w 407988"/>
                  <a:gd name="connsiteY71" fmla="*/ 169862 h 314325"/>
                  <a:gd name="connsiteX72" fmla="*/ 196202 w 407988"/>
                  <a:gd name="connsiteY72" fmla="*/ 3175 h 314325"/>
                  <a:gd name="connsiteX73" fmla="*/ 230125 w 407988"/>
                  <a:gd name="connsiteY73" fmla="*/ 10979 h 314325"/>
                  <a:gd name="connsiteX74" fmla="*/ 332350 w 407988"/>
                  <a:gd name="connsiteY74" fmla="*/ 53210 h 314325"/>
                  <a:gd name="connsiteX75" fmla="*/ 334642 w 407988"/>
                  <a:gd name="connsiteY75" fmla="*/ 53669 h 314325"/>
                  <a:gd name="connsiteX76" fmla="*/ 398820 w 407988"/>
                  <a:gd name="connsiteY76" fmla="*/ 18782 h 314325"/>
                  <a:gd name="connsiteX77" fmla="*/ 402029 w 407988"/>
                  <a:gd name="connsiteY77" fmla="*/ 17864 h 314325"/>
                  <a:gd name="connsiteX78" fmla="*/ 407988 w 407988"/>
                  <a:gd name="connsiteY78" fmla="*/ 23373 h 314325"/>
                  <a:gd name="connsiteX79" fmla="*/ 407988 w 407988"/>
                  <a:gd name="connsiteY79" fmla="*/ 141804 h 314325"/>
                  <a:gd name="connsiteX80" fmla="*/ 406155 w 407988"/>
                  <a:gd name="connsiteY80" fmla="*/ 144558 h 314325"/>
                  <a:gd name="connsiteX81" fmla="*/ 363522 w 407988"/>
                  <a:gd name="connsiteY81" fmla="*/ 155575 h 314325"/>
                  <a:gd name="connsiteX82" fmla="*/ 362606 w 407988"/>
                  <a:gd name="connsiteY82" fmla="*/ 155575 h 314325"/>
                  <a:gd name="connsiteX83" fmla="*/ 360772 w 407988"/>
                  <a:gd name="connsiteY83" fmla="*/ 155116 h 314325"/>
                  <a:gd name="connsiteX84" fmla="*/ 246169 w 407988"/>
                  <a:gd name="connsiteY84" fmla="*/ 85802 h 314325"/>
                  <a:gd name="connsiteX85" fmla="*/ 235167 w 407988"/>
                  <a:gd name="connsiteY85" fmla="*/ 79834 h 314325"/>
                  <a:gd name="connsiteX86" fmla="*/ 190243 w 407988"/>
                  <a:gd name="connsiteY86" fmla="*/ 65145 h 314325"/>
                  <a:gd name="connsiteX87" fmla="*/ 180158 w 407988"/>
                  <a:gd name="connsiteY87" fmla="*/ 64227 h 314325"/>
                  <a:gd name="connsiteX88" fmla="*/ 176491 w 407988"/>
                  <a:gd name="connsiteY88" fmla="*/ 64227 h 314325"/>
                  <a:gd name="connsiteX89" fmla="*/ 173740 w 407988"/>
                  <a:gd name="connsiteY89" fmla="*/ 64686 h 314325"/>
                  <a:gd name="connsiteX90" fmla="*/ 170990 w 407988"/>
                  <a:gd name="connsiteY90" fmla="*/ 65145 h 314325"/>
                  <a:gd name="connsiteX91" fmla="*/ 148069 w 407988"/>
                  <a:gd name="connsiteY91" fmla="*/ 73867 h 314325"/>
                  <a:gd name="connsiteX92" fmla="*/ 108646 w 407988"/>
                  <a:gd name="connsiteY92" fmla="*/ 90851 h 314325"/>
                  <a:gd name="connsiteX93" fmla="*/ 99019 w 407988"/>
                  <a:gd name="connsiteY93" fmla="*/ 88556 h 314325"/>
                  <a:gd name="connsiteX94" fmla="*/ 94435 w 407988"/>
                  <a:gd name="connsiteY94" fmla="*/ 61014 h 314325"/>
                  <a:gd name="connsiteX95" fmla="*/ 112313 w 407988"/>
                  <a:gd name="connsiteY95" fmla="*/ 44029 h 314325"/>
                  <a:gd name="connsiteX96" fmla="*/ 116439 w 407988"/>
                  <a:gd name="connsiteY96" fmla="*/ 39898 h 314325"/>
                  <a:gd name="connsiteX97" fmla="*/ 121023 w 407988"/>
                  <a:gd name="connsiteY97" fmla="*/ 36226 h 314325"/>
                  <a:gd name="connsiteX98" fmla="*/ 196202 w 407988"/>
                  <a:gd name="connsiteY98" fmla="*/ 3175 h 314325"/>
                  <a:gd name="connsiteX99" fmla="*/ 8694 w 407988"/>
                  <a:gd name="connsiteY99" fmla="*/ 0 h 314325"/>
                  <a:gd name="connsiteX100" fmla="*/ 14643 w 407988"/>
                  <a:gd name="connsiteY100" fmla="*/ 2291 h 314325"/>
                  <a:gd name="connsiteX101" fmla="*/ 37521 w 407988"/>
                  <a:gd name="connsiteY101" fmla="*/ 23368 h 314325"/>
                  <a:gd name="connsiteX102" fmla="*/ 37979 w 407988"/>
                  <a:gd name="connsiteY102" fmla="*/ 23827 h 314325"/>
                  <a:gd name="connsiteX103" fmla="*/ 78245 w 407988"/>
                  <a:gd name="connsiteY103" fmla="*/ 46278 h 314325"/>
                  <a:gd name="connsiteX104" fmla="*/ 85567 w 407988"/>
                  <a:gd name="connsiteY104" fmla="*/ 44445 h 314325"/>
                  <a:gd name="connsiteX105" fmla="*/ 87854 w 407988"/>
                  <a:gd name="connsiteY105" fmla="*/ 43529 h 314325"/>
                  <a:gd name="connsiteX106" fmla="*/ 99751 w 407988"/>
                  <a:gd name="connsiteY106" fmla="*/ 39405 h 314325"/>
                  <a:gd name="connsiteX107" fmla="*/ 101582 w 407988"/>
                  <a:gd name="connsiteY107" fmla="*/ 39864 h 314325"/>
                  <a:gd name="connsiteX108" fmla="*/ 87397 w 407988"/>
                  <a:gd name="connsiteY108" fmla="*/ 53151 h 314325"/>
                  <a:gd name="connsiteX109" fmla="*/ 79618 w 407988"/>
                  <a:gd name="connsiteY109" fmla="*/ 76978 h 314325"/>
                  <a:gd name="connsiteX110" fmla="*/ 94718 w 407988"/>
                  <a:gd name="connsiteY110" fmla="*/ 97138 h 314325"/>
                  <a:gd name="connsiteX111" fmla="*/ 108903 w 407988"/>
                  <a:gd name="connsiteY111" fmla="*/ 100346 h 314325"/>
                  <a:gd name="connsiteX112" fmla="*/ 145509 w 407988"/>
                  <a:gd name="connsiteY112" fmla="*/ 86600 h 314325"/>
                  <a:gd name="connsiteX113" fmla="*/ 152830 w 407988"/>
                  <a:gd name="connsiteY113" fmla="*/ 82476 h 314325"/>
                  <a:gd name="connsiteX114" fmla="*/ 173421 w 407988"/>
                  <a:gd name="connsiteY114" fmla="*/ 74228 h 314325"/>
                  <a:gd name="connsiteX115" fmla="*/ 177081 w 407988"/>
                  <a:gd name="connsiteY115" fmla="*/ 73770 h 314325"/>
                  <a:gd name="connsiteX116" fmla="*/ 180284 w 407988"/>
                  <a:gd name="connsiteY116" fmla="*/ 73770 h 314325"/>
                  <a:gd name="connsiteX117" fmla="*/ 230160 w 407988"/>
                  <a:gd name="connsiteY117" fmla="*/ 87974 h 314325"/>
                  <a:gd name="connsiteX118" fmla="*/ 373381 w 407988"/>
                  <a:gd name="connsiteY118" fmla="*/ 174574 h 314325"/>
                  <a:gd name="connsiteX119" fmla="*/ 381617 w 407988"/>
                  <a:gd name="connsiteY119" fmla="*/ 208481 h 314325"/>
                  <a:gd name="connsiteX120" fmla="*/ 360569 w 407988"/>
                  <a:gd name="connsiteY120" fmla="*/ 220394 h 314325"/>
                  <a:gd name="connsiteX121" fmla="*/ 347757 w 407988"/>
                  <a:gd name="connsiteY121" fmla="*/ 216729 h 314325"/>
                  <a:gd name="connsiteX122" fmla="*/ 339520 w 407988"/>
                  <a:gd name="connsiteY122" fmla="*/ 211688 h 314325"/>
                  <a:gd name="connsiteX123" fmla="*/ 346841 w 407988"/>
                  <a:gd name="connsiteY123" fmla="*/ 243762 h 314325"/>
                  <a:gd name="connsiteX124" fmla="*/ 327166 w 407988"/>
                  <a:gd name="connsiteY124" fmla="*/ 254301 h 314325"/>
                  <a:gd name="connsiteX125" fmla="*/ 315269 w 407988"/>
                  <a:gd name="connsiteY125" fmla="*/ 250635 h 314325"/>
                  <a:gd name="connsiteX126" fmla="*/ 300169 w 407988"/>
                  <a:gd name="connsiteY126" fmla="*/ 241013 h 314325"/>
                  <a:gd name="connsiteX127" fmla="*/ 307032 w 407988"/>
                  <a:gd name="connsiteY127" fmla="*/ 273545 h 314325"/>
                  <a:gd name="connsiteX128" fmla="*/ 287814 w 407988"/>
                  <a:gd name="connsiteY128" fmla="*/ 283626 h 314325"/>
                  <a:gd name="connsiteX129" fmla="*/ 275460 w 407988"/>
                  <a:gd name="connsiteY129" fmla="*/ 280418 h 314325"/>
                  <a:gd name="connsiteX130" fmla="*/ 263105 w 407988"/>
                  <a:gd name="connsiteY130" fmla="*/ 272171 h 314325"/>
                  <a:gd name="connsiteX131" fmla="*/ 269511 w 407988"/>
                  <a:gd name="connsiteY131" fmla="*/ 304245 h 314325"/>
                  <a:gd name="connsiteX132" fmla="*/ 250751 w 407988"/>
                  <a:gd name="connsiteY132" fmla="*/ 314325 h 314325"/>
                  <a:gd name="connsiteX133" fmla="*/ 239312 w 407988"/>
                  <a:gd name="connsiteY133" fmla="*/ 310660 h 314325"/>
                  <a:gd name="connsiteX134" fmla="*/ 214145 w 407988"/>
                  <a:gd name="connsiteY134" fmla="*/ 295539 h 314325"/>
                  <a:gd name="connsiteX135" fmla="*/ 210027 w 407988"/>
                  <a:gd name="connsiteY135" fmla="*/ 292790 h 314325"/>
                  <a:gd name="connsiteX136" fmla="*/ 225584 w 407988"/>
                  <a:gd name="connsiteY136" fmla="*/ 260716 h 314325"/>
                  <a:gd name="connsiteX137" fmla="*/ 213230 w 407988"/>
                  <a:gd name="connsiteY137" fmla="*/ 224060 h 314325"/>
                  <a:gd name="connsiteX138" fmla="*/ 200875 w 407988"/>
                  <a:gd name="connsiteY138" fmla="*/ 221311 h 314325"/>
                  <a:gd name="connsiteX139" fmla="*/ 198587 w 407988"/>
                  <a:gd name="connsiteY139" fmla="*/ 221311 h 314325"/>
                  <a:gd name="connsiteX140" fmla="*/ 199503 w 407988"/>
                  <a:gd name="connsiteY140" fmla="*/ 201608 h 314325"/>
                  <a:gd name="connsiteX141" fmla="*/ 185318 w 407988"/>
                  <a:gd name="connsiteY141" fmla="*/ 186029 h 314325"/>
                  <a:gd name="connsiteX142" fmla="*/ 173421 w 407988"/>
                  <a:gd name="connsiteY142" fmla="*/ 183280 h 314325"/>
                  <a:gd name="connsiteX143" fmla="*/ 156033 w 407988"/>
                  <a:gd name="connsiteY143" fmla="*/ 189237 h 314325"/>
                  <a:gd name="connsiteX144" fmla="*/ 143679 w 407988"/>
                  <a:gd name="connsiteY144" fmla="*/ 176865 h 314325"/>
                  <a:gd name="connsiteX145" fmla="*/ 131324 w 407988"/>
                  <a:gd name="connsiteY145" fmla="*/ 174116 h 314325"/>
                  <a:gd name="connsiteX146" fmla="*/ 118054 w 407988"/>
                  <a:gd name="connsiteY146" fmla="*/ 177782 h 314325"/>
                  <a:gd name="connsiteX147" fmla="*/ 104327 w 407988"/>
                  <a:gd name="connsiteY147" fmla="*/ 162661 h 314325"/>
                  <a:gd name="connsiteX148" fmla="*/ 92430 w 407988"/>
                  <a:gd name="connsiteY148" fmla="*/ 159912 h 314325"/>
                  <a:gd name="connsiteX149" fmla="*/ 67721 w 407988"/>
                  <a:gd name="connsiteY149" fmla="*/ 175032 h 314325"/>
                  <a:gd name="connsiteX150" fmla="*/ 62230 w 407988"/>
                  <a:gd name="connsiteY150" fmla="*/ 186029 h 314325"/>
                  <a:gd name="connsiteX151" fmla="*/ 61773 w 407988"/>
                  <a:gd name="connsiteY151" fmla="*/ 185571 h 314325"/>
                  <a:gd name="connsiteX152" fmla="*/ 3661 w 407988"/>
                  <a:gd name="connsiteY152" fmla="*/ 142500 h 314325"/>
                  <a:gd name="connsiteX153" fmla="*/ 0 w 407988"/>
                  <a:gd name="connsiteY153" fmla="*/ 135169 h 314325"/>
                  <a:gd name="connsiteX154" fmla="*/ 0 w 407988"/>
                  <a:gd name="connsiteY154" fmla="*/ 9164 h 314325"/>
                  <a:gd name="connsiteX155" fmla="*/ 3203 w 407988"/>
                  <a:gd name="connsiteY155" fmla="*/ 2291 h 314325"/>
                  <a:gd name="connsiteX156" fmla="*/ 8694 w 407988"/>
                  <a:gd name="connsiteY156" fmla="*/ 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07988" h="314325">
                    <a:moveTo>
                      <a:pt x="201160" y="231775"/>
                    </a:moveTo>
                    <a:cubicBezTo>
                      <a:pt x="203881" y="231775"/>
                      <a:pt x="206603" y="232227"/>
                      <a:pt x="208870" y="233583"/>
                    </a:cubicBezTo>
                    <a:cubicBezTo>
                      <a:pt x="217488" y="237651"/>
                      <a:pt x="220663" y="248047"/>
                      <a:pt x="216581" y="256635"/>
                    </a:cubicBezTo>
                    <a:cubicBezTo>
                      <a:pt x="216581" y="256635"/>
                      <a:pt x="216581" y="256635"/>
                      <a:pt x="202067" y="286467"/>
                    </a:cubicBezTo>
                    <a:cubicBezTo>
                      <a:pt x="202067" y="286467"/>
                      <a:pt x="202067" y="286467"/>
                      <a:pt x="199799" y="290987"/>
                    </a:cubicBezTo>
                    <a:cubicBezTo>
                      <a:pt x="199799" y="290987"/>
                      <a:pt x="199799" y="290987"/>
                      <a:pt x="197985" y="294151"/>
                    </a:cubicBezTo>
                    <a:cubicBezTo>
                      <a:pt x="197985" y="294603"/>
                      <a:pt x="197531" y="295055"/>
                      <a:pt x="197531" y="295055"/>
                    </a:cubicBezTo>
                    <a:cubicBezTo>
                      <a:pt x="196624" y="296411"/>
                      <a:pt x="195263" y="296863"/>
                      <a:pt x="193449" y="296863"/>
                    </a:cubicBezTo>
                    <a:cubicBezTo>
                      <a:pt x="192995" y="296863"/>
                      <a:pt x="192088" y="296863"/>
                      <a:pt x="191635" y="296411"/>
                    </a:cubicBezTo>
                    <a:cubicBezTo>
                      <a:pt x="191635" y="296411"/>
                      <a:pt x="191635" y="296411"/>
                      <a:pt x="169410" y="285563"/>
                    </a:cubicBezTo>
                    <a:cubicBezTo>
                      <a:pt x="167595" y="284659"/>
                      <a:pt x="166688" y="283303"/>
                      <a:pt x="166688" y="281495"/>
                    </a:cubicBezTo>
                    <a:cubicBezTo>
                      <a:pt x="168503" y="280139"/>
                      <a:pt x="170317" y="278783"/>
                      <a:pt x="171678" y="276975"/>
                    </a:cubicBezTo>
                    <a:cubicBezTo>
                      <a:pt x="172131" y="276071"/>
                      <a:pt x="172585" y="275619"/>
                      <a:pt x="172585" y="274715"/>
                    </a:cubicBezTo>
                    <a:cubicBezTo>
                      <a:pt x="172585" y="274715"/>
                      <a:pt x="172585" y="274715"/>
                      <a:pt x="173945" y="272455"/>
                    </a:cubicBezTo>
                    <a:cubicBezTo>
                      <a:pt x="173945" y="272455"/>
                      <a:pt x="173945" y="272455"/>
                      <a:pt x="176213" y="267935"/>
                    </a:cubicBezTo>
                    <a:cubicBezTo>
                      <a:pt x="176213" y="267935"/>
                      <a:pt x="176213" y="267935"/>
                      <a:pt x="192995" y="234035"/>
                    </a:cubicBezTo>
                    <a:cubicBezTo>
                      <a:pt x="195717" y="232679"/>
                      <a:pt x="198438" y="231775"/>
                      <a:pt x="201160" y="231775"/>
                    </a:cubicBezTo>
                    <a:close/>
                    <a:moveTo>
                      <a:pt x="173956" y="193675"/>
                    </a:moveTo>
                    <a:cubicBezTo>
                      <a:pt x="176707" y="193675"/>
                      <a:pt x="179001" y="194129"/>
                      <a:pt x="181752" y="195489"/>
                    </a:cubicBezTo>
                    <a:cubicBezTo>
                      <a:pt x="190007" y="199572"/>
                      <a:pt x="193676" y="210004"/>
                      <a:pt x="189549" y="218168"/>
                    </a:cubicBezTo>
                    <a:cubicBezTo>
                      <a:pt x="189549" y="218168"/>
                      <a:pt x="189549" y="218168"/>
                      <a:pt x="185421" y="226332"/>
                    </a:cubicBezTo>
                    <a:lnTo>
                      <a:pt x="167994" y="261711"/>
                    </a:lnTo>
                    <a:cubicBezTo>
                      <a:pt x="167994" y="261711"/>
                      <a:pt x="167994" y="261711"/>
                      <a:pt x="165701" y="266247"/>
                    </a:cubicBezTo>
                    <a:cubicBezTo>
                      <a:pt x="165701" y="266247"/>
                      <a:pt x="165701" y="266247"/>
                      <a:pt x="163866" y="270329"/>
                    </a:cubicBezTo>
                    <a:cubicBezTo>
                      <a:pt x="163866" y="270329"/>
                      <a:pt x="163408" y="270329"/>
                      <a:pt x="163408" y="270782"/>
                    </a:cubicBezTo>
                    <a:cubicBezTo>
                      <a:pt x="162490" y="272143"/>
                      <a:pt x="161115" y="273050"/>
                      <a:pt x="159280" y="273050"/>
                    </a:cubicBezTo>
                    <a:cubicBezTo>
                      <a:pt x="159280" y="273050"/>
                      <a:pt x="158822" y="273050"/>
                      <a:pt x="158822" y="273050"/>
                    </a:cubicBezTo>
                    <a:cubicBezTo>
                      <a:pt x="158363" y="273050"/>
                      <a:pt x="157446" y="272597"/>
                      <a:pt x="156987" y="272597"/>
                    </a:cubicBezTo>
                    <a:cubicBezTo>
                      <a:pt x="156987" y="272597"/>
                      <a:pt x="156987" y="272597"/>
                      <a:pt x="134974" y="261711"/>
                    </a:cubicBezTo>
                    <a:cubicBezTo>
                      <a:pt x="134056" y="261257"/>
                      <a:pt x="133598" y="260804"/>
                      <a:pt x="133139" y="259897"/>
                    </a:cubicBezTo>
                    <a:cubicBezTo>
                      <a:pt x="131763" y="258536"/>
                      <a:pt x="131763" y="256722"/>
                      <a:pt x="132680" y="254907"/>
                    </a:cubicBezTo>
                    <a:cubicBezTo>
                      <a:pt x="132680" y="254907"/>
                      <a:pt x="132680" y="254907"/>
                      <a:pt x="134974" y="250372"/>
                    </a:cubicBezTo>
                    <a:cubicBezTo>
                      <a:pt x="134974" y="250372"/>
                      <a:pt x="134974" y="250372"/>
                      <a:pt x="137267" y="245836"/>
                    </a:cubicBezTo>
                    <a:cubicBezTo>
                      <a:pt x="137267" y="245836"/>
                      <a:pt x="137267" y="245836"/>
                      <a:pt x="139560" y="241300"/>
                    </a:cubicBezTo>
                    <a:cubicBezTo>
                      <a:pt x="139560" y="241300"/>
                      <a:pt x="139560" y="241300"/>
                      <a:pt x="158363" y="203200"/>
                    </a:cubicBezTo>
                    <a:cubicBezTo>
                      <a:pt x="158822" y="202293"/>
                      <a:pt x="158822" y="201839"/>
                      <a:pt x="159280" y="201386"/>
                    </a:cubicBezTo>
                    <a:cubicBezTo>
                      <a:pt x="162490" y="196397"/>
                      <a:pt x="167994" y="193675"/>
                      <a:pt x="173956" y="193675"/>
                    </a:cubicBezTo>
                    <a:close/>
                    <a:moveTo>
                      <a:pt x="131631" y="184150"/>
                    </a:moveTo>
                    <a:cubicBezTo>
                      <a:pt x="134409" y="184150"/>
                      <a:pt x="137188" y="184611"/>
                      <a:pt x="139503" y="185994"/>
                    </a:cubicBezTo>
                    <a:cubicBezTo>
                      <a:pt x="145059" y="188298"/>
                      <a:pt x="148300" y="193368"/>
                      <a:pt x="149226" y="198899"/>
                    </a:cubicBezTo>
                    <a:cubicBezTo>
                      <a:pt x="149226" y="198899"/>
                      <a:pt x="149226" y="198899"/>
                      <a:pt x="131168" y="235309"/>
                    </a:cubicBezTo>
                    <a:cubicBezTo>
                      <a:pt x="131168" y="235309"/>
                      <a:pt x="131168" y="235309"/>
                      <a:pt x="128853" y="239918"/>
                    </a:cubicBezTo>
                    <a:cubicBezTo>
                      <a:pt x="128853" y="239918"/>
                      <a:pt x="128853" y="239918"/>
                      <a:pt x="126538" y="244988"/>
                    </a:cubicBezTo>
                    <a:cubicBezTo>
                      <a:pt x="126538" y="244988"/>
                      <a:pt x="126538" y="244988"/>
                      <a:pt x="123297" y="251440"/>
                    </a:cubicBezTo>
                    <a:cubicBezTo>
                      <a:pt x="122834" y="252362"/>
                      <a:pt x="122371" y="254205"/>
                      <a:pt x="121908" y="255588"/>
                    </a:cubicBezTo>
                    <a:cubicBezTo>
                      <a:pt x="121908" y="255588"/>
                      <a:pt x="121908" y="255588"/>
                      <a:pt x="121445" y="255588"/>
                    </a:cubicBezTo>
                    <a:cubicBezTo>
                      <a:pt x="120982" y="255588"/>
                      <a:pt x="120056" y="255127"/>
                      <a:pt x="119593" y="255127"/>
                    </a:cubicBezTo>
                    <a:cubicBezTo>
                      <a:pt x="119593" y="255127"/>
                      <a:pt x="119593" y="255127"/>
                      <a:pt x="96904" y="244066"/>
                    </a:cubicBezTo>
                    <a:cubicBezTo>
                      <a:pt x="94589" y="242683"/>
                      <a:pt x="93663" y="239918"/>
                      <a:pt x="94589" y="237153"/>
                    </a:cubicBezTo>
                    <a:cubicBezTo>
                      <a:pt x="94589" y="237153"/>
                      <a:pt x="94589" y="237153"/>
                      <a:pt x="95052" y="236231"/>
                    </a:cubicBezTo>
                    <a:cubicBezTo>
                      <a:pt x="95052" y="236231"/>
                      <a:pt x="95052" y="236231"/>
                      <a:pt x="100146" y="226091"/>
                    </a:cubicBezTo>
                    <a:cubicBezTo>
                      <a:pt x="100146" y="226091"/>
                      <a:pt x="100146" y="226091"/>
                      <a:pt x="102461" y="221482"/>
                    </a:cubicBezTo>
                    <a:cubicBezTo>
                      <a:pt x="102461" y="221482"/>
                      <a:pt x="102461" y="221482"/>
                      <a:pt x="104776" y="216873"/>
                    </a:cubicBezTo>
                    <a:cubicBezTo>
                      <a:pt x="104776" y="216873"/>
                      <a:pt x="104776" y="216873"/>
                      <a:pt x="115888" y="193829"/>
                    </a:cubicBezTo>
                    <a:cubicBezTo>
                      <a:pt x="117278" y="191985"/>
                      <a:pt x="118204" y="190142"/>
                      <a:pt x="119593" y="188759"/>
                    </a:cubicBezTo>
                    <a:cubicBezTo>
                      <a:pt x="123297" y="185994"/>
                      <a:pt x="127464" y="184150"/>
                      <a:pt x="131631" y="184150"/>
                    </a:cubicBezTo>
                    <a:close/>
                    <a:moveTo>
                      <a:pt x="92914" y="169862"/>
                    </a:moveTo>
                    <a:cubicBezTo>
                      <a:pt x="95161" y="169862"/>
                      <a:pt x="97857" y="170319"/>
                      <a:pt x="100103" y="171234"/>
                    </a:cubicBezTo>
                    <a:cubicBezTo>
                      <a:pt x="105495" y="173977"/>
                      <a:pt x="109089" y="179463"/>
                      <a:pt x="109538" y="184950"/>
                    </a:cubicBezTo>
                    <a:cubicBezTo>
                      <a:pt x="108640" y="186321"/>
                      <a:pt x="107741" y="187693"/>
                      <a:pt x="107292" y="189065"/>
                    </a:cubicBezTo>
                    <a:cubicBezTo>
                      <a:pt x="107292" y="189065"/>
                      <a:pt x="107292" y="189065"/>
                      <a:pt x="96958" y="210096"/>
                    </a:cubicBezTo>
                    <a:lnTo>
                      <a:pt x="94712" y="215125"/>
                    </a:lnTo>
                    <a:cubicBezTo>
                      <a:pt x="94712" y="215125"/>
                      <a:pt x="94712" y="215125"/>
                      <a:pt x="92465" y="219697"/>
                    </a:cubicBezTo>
                    <a:cubicBezTo>
                      <a:pt x="92465" y="219697"/>
                      <a:pt x="92465" y="219697"/>
                      <a:pt x="88871" y="227012"/>
                    </a:cubicBezTo>
                    <a:cubicBezTo>
                      <a:pt x="88422" y="227012"/>
                      <a:pt x="87523" y="227012"/>
                      <a:pt x="87074" y="226555"/>
                    </a:cubicBezTo>
                    <a:cubicBezTo>
                      <a:pt x="87074" y="226555"/>
                      <a:pt x="87074" y="226555"/>
                      <a:pt x="65508" y="215582"/>
                    </a:cubicBezTo>
                    <a:cubicBezTo>
                      <a:pt x="62812" y="214668"/>
                      <a:pt x="61913" y="211467"/>
                      <a:pt x="63261" y="209181"/>
                    </a:cubicBezTo>
                    <a:cubicBezTo>
                      <a:pt x="63261" y="209181"/>
                      <a:pt x="63261" y="209181"/>
                      <a:pt x="67305" y="200952"/>
                    </a:cubicBezTo>
                    <a:cubicBezTo>
                      <a:pt x="67305" y="200952"/>
                      <a:pt x="67305" y="200952"/>
                      <a:pt x="69551" y="196380"/>
                    </a:cubicBezTo>
                    <a:cubicBezTo>
                      <a:pt x="69551" y="196380"/>
                      <a:pt x="69551" y="196380"/>
                      <a:pt x="71348" y="191808"/>
                    </a:cubicBezTo>
                    <a:cubicBezTo>
                      <a:pt x="71348" y="191808"/>
                      <a:pt x="71348" y="191808"/>
                      <a:pt x="77638" y="179463"/>
                    </a:cubicBezTo>
                    <a:cubicBezTo>
                      <a:pt x="80334" y="173063"/>
                      <a:pt x="86624" y="169862"/>
                      <a:pt x="92914" y="169862"/>
                    </a:cubicBezTo>
                    <a:close/>
                    <a:moveTo>
                      <a:pt x="196202" y="3175"/>
                    </a:moveTo>
                    <a:cubicBezTo>
                      <a:pt x="212247" y="3175"/>
                      <a:pt x="223249" y="8684"/>
                      <a:pt x="230125" y="10979"/>
                    </a:cubicBezTo>
                    <a:cubicBezTo>
                      <a:pt x="254421" y="17864"/>
                      <a:pt x="314472" y="49079"/>
                      <a:pt x="332350" y="53210"/>
                    </a:cubicBezTo>
                    <a:cubicBezTo>
                      <a:pt x="332809" y="53669"/>
                      <a:pt x="333726" y="53669"/>
                      <a:pt x="334642" y="53669"/>
                    </a:cubicBezTo>
                    <a:cubicBezTo>
                      <a:pt x="349770" y="53669"/>
                      <a:pt x="382317" y="30717"/>
                      <a:pt x="398820" y="18782"/>
                    </a:cubicBezTo>
                    <a:cubicBezTo>
                      <a:pt x="399737" y="18323"/>
                      <a:pt x="401112" y="17864"/>
                      <a:pt x="402029" y="17864"/>
                    </a:cubicBezTo>
                    <a:cubicBezTo>
                      <a:pt x="405238" y="17864"/>
                      <a:pt x="407988" y="20159"/>
                      <a:pt x="407988" y="23373"/>
                    </a:cubicBezTo>
                    <a:cubicBezTo>
                      <a:pt x="407988" y="23373"/>
                      <a:pt x="407988" y="23373"/>
                      <a:pt x="407988" y="141804"/>
                    </a:cubicBezTo>
                    <a:cubicBezTo>
                      <a:pt x="407988" y="143181"/>
                      <a:pt x="407071" y="144558"/>
                      <a:pt x="406155" y="144558"/>
                    </a:cubicBezTo>
                    <a:cubicBezTo>
                      <a:pt x="406155" y="144558"/>
                      <a:pt x="406155" y="144558"/>
                      <a:pt x="363522" y="155575"/>
                    </a:cubicBezTo>
                    <a:cubicBezTo>
                      <a:pt x="363522" y="155575"/>
                      <a:pt x="363064" y="155575"/>
                      <a:pt x="362606" y="155575"/>
                    </a:cubicBezTo>
                    <a:cubicBezTo>
                      <a:pt x="362147" y="155575"/>
                      <a:pt x="361230" y="155575"/>
                      <a:pt x="360772" y="155116"/>
                    </a:cubicBezTo>
                    <a:cubicBezTo>
                      <a:pt x="351604" y="149149"/>
                      <a:pt x="285134" y="109672"/>
                      <a:pt x="246169" y="85802"/>
                    </a:cubicBezTo>
                    <a:cubicBezTo>
                      <a:pt x="242502" y="83965"/>
                      <a:pt x="238835" y="81670"/>
                      <a:pt x="235167" y="79834"/>
                    </a:cubicBezTo>
                    <a:cubicBezTo>
                      <a:pt x="220957" y="72490"/>
                      <a:pt x="205829" y="66981"/>
                      <a:pt x="190243" y="65145"/>
                    </a:cubicBezTo>
                    <a:cubicBezTo>
                      <a:pt x="187034" y="64686"/>
                      <a:pt x="183367" y="64227"/>
                      <a:pt x="180158" y="64227"/>
                    </a:cubicBezTo>
                    <a:cubicBezTo>
                      <a:pt x="178783" y="64227"/>
                      <a:pt x="177407" y="64227"/>
                      <a:pt x="176491" y="64227"/>
                    </a:cubicBezTo>
                    <a:cubicBezTo>
                      <a:pt x="176032" y="64227"/>
                      <a:pt x="175115" y="64686"/>
                      <a:pt x="173740" y="64686"/>
                    </a:cubicBezTo>
                    <a:cubicBezTo>
                      <a:pt x="172823" y="64686"/>
                      <a:pt x="171907" y="65145"/>
                      <a:pt x="170990" y="65145"/>
                    </a:cubicBezTo>
                    <a:cubicBezTo>
                      <a:pt x="163197" y="66981"/>
                      <a:pt x="155404" y="70194"/>
                      <a:pt x="148069" y="73867"/>
                    </a:cubicBezTo>
                    <a:cubicBezTo>
                      <a:pt x="137067" y="79834"/>
                      <a:pt x="121940" y="90851"/>
                      <a:pt x="108646" y="90851"/>
                    </a:cubicBezTo>
                    <a:cubicBezTo>
                      <a:pt x="104979" y="90851"/>
                      <a:pt x="101770" y="90392"/>
                      <a:pt x="99019" y="88556"/>
                    </a:cubicBezTo>
                    <a:cubicBezTo>
                      <a:pt x="88476" y="83506"/>
                      <a:pt x="85725" y="69276"/>
                      <a:pt x="94435" y="61014"/>
                    </a:cubicBezTo>
                    <a:cubicBezTo>
                      <a:pt x="100394" y="54587"/>
                      <a:pt x="106354" y="49079"/>
                      <a:pt x="112313" y="44029"/>
                    </a:cubicBezTo>
                    <a:cubicBezTo>
                      <a:pt x="113688" y="42652"/>
                      <a:pt x="115064" y="41275"/>
                      <a:pt x="116439" y="39898"/>
                    </a:cubicBezTo>
                    <a:cubicBezTo>
                      <a:pt x="118272" y="38980"/>
                      <a:pt x="119648" y="37603"/>
                      <a:pt x="121023" y="36226"/>
                    </a:cubicBezTo>
                    <a:cubicBezTo>
                      <a:pt x="153570" y="10061"/>
                      <a:pt x="177866" y="3175"/>
                      <a:pt x="196202" y="3175"/>
                    </a:cubicBezTo>
                    <a:close/>
                    <a:moveTo>
                      <a:pt x="8694" y="0"/>
                    </a:moveTo>
                    <a:cubicBezTo>
                      <a:pt x="10982" y="0"/>
                      <a:pt x="13270" y="917"/>
                      <a:pt x="14643" y="2291"/>
                    </a:cubicBezTo>
                    <a:cubicBezTo>
                      <a:pt x="14643" y="2291"/>
                      <a:pt x="14643" y="2291"/>
                      <a:pt x="37521" y="23368"/>
                    </a:cubicBezTo>
                    <a:cubicBezTo>
                      <a:pt x="37521" y="23827"/>
                      <a:pt x="37979" y="23827"/>
                      <a:pt x="37979" y="23827"/>
                    </a:cubicBezTo>
                    <a:cubicBezTo>
                      <a:pt x="43927" y="30241"/>
                      <a:pt x="63603" y="46278"/>
                      <a:pt x="78245" y="46278"/>
                    </a:cubicBezTo>
                    <a:cubicBezTo>
                      <a:pt x="80991" y="46278"/>
                      <a:pt x="83736" y="45820"/>
                      <a:pt x="85567" y="44445"/>
                    </a:cubicBezTo>
                    <a:cubicBezTo>
                      <a:pt x="86482" y="43987"/>
                      <a:pt x="87397" y="43529"/>
                      <a:pt x="87854" y="43529"/>
                    </a:cubicBezTo>
                    <a:cubicBezTo>
                      <a:pt x="87854" y="43529"/>
                      <a:pt x="87854" y="43529"/>
                      <a:pt x="99751" y="39405"/>
                    </a:cubicBezTo>
                    <a:cubicBezTo>
                      <a:pt x="99751" y="39405"/>
                      <a:pt x="99751" y="39405"/>
                      <a:pt x="101582" y="39864"/>
                    </a:cubicBezTo>
                    <a:cubicBezTo>
                      <a:pt x="96548" y="43987"/>
                      <a:pt x="91973" y="48569"/>
                      <a:pt x="87397" y="53151"/>
                    </a:cubicBezTo>
                    <a:cubicBezTo>
                      <a:pt x="80991" y="59566"/>
                      <a:pt x="78245" y="68272"/>
                      <a:pt x="79618" y="76978"/>
                    </a:cubicBezTo>
                    <a:cubicBezTo>
                      <a:pt x="81448" y="85683"/>
                      <a:pt x="86939" y="93015"/>
                      <a:pt x="94718" y="97138"/>
                    </a:cubicBezTo>
                    <a:cubicBezTo>
                      <a:pt x="98836" y="99429"/>
                      <a:pt x="103870" y="100346"/>
                      <a:pt x="108903" y="100346"/>
                    </a:cubicBezTo>
                    <a:cubicBezTo>
                      <a:pt x="122173" y="100346"/>
                      <a:pt x="134985" y="93015"/>
                      <a:pt x="145509" y="86600"/>
                    </a:cubicBezTo>
                    <a:cubicBezTo>
                      <a:pt x="148254" y="85225"/>
                      <a:pt x="150542" y="83392"/>
                      <a:pt x="152830" y="82476"/>
                    </a:cubicBezTo>
                    <a:cubicBezTo>
                      <a:pt x="159694" y="78810"/>
                      <a:pt x="166557" y="76061"/>
                      <a:pt x="173421" y="74228"/>
                    </a:cubicBezTo>
                    <a:cubicBezTo>
                      <a:pt x="174336" y="74228"/>
                      <a:pt x="176166" y="74228"/>
                      <a:pt x="177081" y="73770"/>
                    </a:cubicBezTo>
                    <a:cubicBezTo>
                      <a:pt x="177997" y="73770"/>
                      <a:pt x="178912" y="73770"/>
                      <a:pt x="180284" y="73770"/>
                    </a:cubicBezTo>
                    <a:cubicBezTo>
                      <a:pt x="195384" y="73770"/>
                      <a:pt x="211857" y="78810"/>
                      <a:pt x="230160" y="87974"/>
                    </a:cubicBezTo>
                    <a:cubicBezTo>
                      <a:pt x="230160" y="87974"/>
                      <a:pt x="230160" y="87974"/>
                      <a:pt x="373381" y="174574"/>
                    </a:cubicBezTo>
                    <a:cubicBezTo>
                      <a:pt x="385278" y="181447"/>
                      <a:pt x="388938" y="196568"/>
                      <a:pt x="381617" y="208481"/>
                    </a:cubicBezTo>
                    <a:cubicBezTo>
                      <a:pt x="377041" y="216270"/>
                      <a:pt x="368805" y="220394"/>
                      <a:pt x="360569" y="220394"/>
                    </a:cubicBezTo>
                    <a:cubicBezTo>
                      <a:pt x="355993" y="220394"/>
                      <a:pt x="351875" y="219020"/>
                      <a:pt x="347757" y="216729"/>
                    </a:cubicBezTo>
                    <a:cubicBezTo>
                      <a:pt x="347757" y="216729"/>
                      <a:pt x="347757" y="216729"/>
                      <a:pt x="339520" y="211688"/>
                    </a:cubicBezTo>
                    <a:cubicBezTo>
                      <a:pt x="350502" y="218103"/>
                      <a:pt x="353705" y="232766"/>
                      <a:pt x="346841" y="243762"/>
                    </a:cubicBezTo>
                    <a:cubicBezTo>
                      <a:pt x="342266" y="250635"/>
                      <a:pt x="334944" y="254301"/>
                      <a:pt x="327166" y="254301"/>
                    </a:cubicBezTo>
                    <a:cubicBezTo>
                      <a:pt x="323048" y="254301"/>
                      <a:pt x="318929" y="252926"/>
                      <a:pt x="315269" y="250635"/>
                    </a:cubicBezTo>
                    <a:cubicBezTo>
                      <a:pt x="315269" y="250635"/>
                      <a:pt x="315269" y="250635"/>
                      <a:pt x="300169" y="241013"/>
                    </a:cubicBezTo>
                    <a:cubicBezTo>
                      <a:pt x="311151" y="247886"/>
                      <a:pt x="314354" y="262549"/>
                      <a:pt x="307032" y="273545"/>
                    </a:cubicBezTo>
                    <a:cubicBezTo>
                      <a:pt x="302914" y="279960"/>
                      <a:pt x="295593" y="283626"/>
                      <a:pt x="287814" y="283626"/>
                    </a:cubicBezTo>
                    <a:cubicBezTo>
                      <a:pt x="283696" y="283626"/>
                      <a:pt x="279578" y="282709"/>
                      <a:pt x="275460" y="280418"/>
                    </a:cubicBezTo>
                    <a:cubicBezTo>
                      <a:pt x="275460" y="280418"/>
                      <a:pt x="275460" y="280418"/>
                      <a:pt x="263105" y="272171"/>
                    </a:cubicBezTo>
                    <a:cubicBezTo>
                      <a:pt x="274087" y="279044"/>
                      <a:pt x="276833" y="293706"/>
                      <a:pt x="269511" y="304245"/>
                    </a:cubicBezTo>
                    <a:cubicBezTo>
                      <a:pt x="265393" y="310660"/>
                      <a:pt x="258072" y="314325"/>
                      <a:pt x="250751" y="314325"/>
                    </a:cubicBezTo>
                    <a:cubicBezTo>
                      <a:pt x="247090" y="314325"/>
                      <a:pt x="242972" y="312951"/>
                      <a:pt x="239312" y="310660"/>
                    </a:cubicBezTo>
                    <a:cubicBezTo>
                      <a:pt x="239312" y="310660"/>
                      <a:pt x="239312" y="310660"/>
                      <a:pt x="214145" y="295539"/>
                    </a:cubicBezTo>
                    <a:cubicBezTo>
                      <a:pt x="214145" y="295539"/>
                      <a:pt x="214145" y="295539"/>
                      <a:pt x="210027" y="292790"/>
                    </a:cubicBezTo>
                    <a:cubicBezTo>
                      <a:pt x="210027" y="292790"/>
                      <a:pt x="210027" y="292790"/>
                      <a:pt x="225584" y="260716"/>
                    </a:cubicBezTo>
                    <a:cubicBezTo>
                      <a:pt x="232448" y="247428"/>
                      <a:pt x="226499" y="230933"/>
                      <a:pt x="213230" y="224060"/>
                    </a:cubicBezTo>
                    <a:cubicBezTo>
                      <a:pt x="209112" y="222227"/>
                      <a:pt x="204993" y="221311"/>
                      <a:pt x="200875" y="221311"/>
                    </a:cubicBezTo>
                    <a:cubicBezTo>
                      <a:pt x="199960" y="221311"/>
                      <a:pt x="199503" y="221311"/>
                      <a:pt x="198587" y="221311"/>
                    </a:cubicBezTo>
                    <a:cubicBezTo>
                      <a:pt x="201333" y="215354"/>
                      <a:pt x="201333" y="208481"/>
                      <a:pt x="199503" y="201608"/>
                    </a:cubicBezTo>
                    <a:cubicBezTo>
                      <a:pt x="196757" y="194735"/>
                      <a:pt x="192181" y="189237"/>
                      <a:pt x="185318" y="186029"/>
                    </a:cubicBezTo>
                    <a:cubicBezTo>
                      <a:pt x="181657" y="184196"/>
                      <a:pt x="177539" y="183280"/>
                      <a:pt x="173421" y="183280"/>
                    </a:cubicBezTo>
                    <a:cubicBezTo>
                      <a:pt x="167015" y="183280"/>
                      <a:pt x="161066" y="185571"/>
                      <a:pt x="156033" y="189237"/>
                    </a:cubicBezTo>
                    <a:cubicBezTo>
                      <a:pt x="153288" y="183738"/>
                      <a:pt x="149169" y="179614"/>
                      <a:pt x="143679" y="176865"/>
                    </a:cubicBezTo>
                    <a:cubicBezTo>
                      <a:pt x="140018" y="175032"/>
                      <a:pt x="135900" y="174116"/>
                      <a:pt x="131324" y="174116"/>
                    </a:cubicBezTo>
                    <a:cubicBezTo>
                      <a:pt x="126748" y="174116"/>
                      <a:pt x="122173" y="175491"/>
                      <a:pt x="118054" y="177782"/>
                    </a:cubicBezTo>
                    <a:cubicBezTo>
                      <a:pt x="115309" y="170909"/>
                      <a:pt x="110733" y="165868"/>
                      <a:pt x="104327" y="162661"/>
                    </a:cubicBezTo>
                    <a:cubicBezTo>
                      <a:pt x="100667" y="160828"/>
                      <a:pt x="96548" y="159912"/>
                      <a:pt x="92430" y="159912"/>
                    </a:cubicBezTo>
                    <a:cubicBezTo>
                      <a:pt x="81906" y="159912"/>
                      <a:pt x="72297" y="165410"/>
                      <a:pt x="67721" y="175032"/>
                    </a:cubicBezTo>
                    <a:cubicBezTo>
                      <a:pt x="67721" y="175032"/>
                      <a:pt x="67721" y="175032"/>
                      <a:pt x="62230" y="186029"/>
                    </a:cubicBezTo>
                    <a:cubicBezTo>
                      <a:pt x="62230" y="186029"/>
                      <a:pt x="62230" y="186029"/>
                      <a:pt x="61773" y="185571"/>
                    </a:cubicBezTo>
                    <a:cubicBezTo>
                      <a:pt x="61773" y="185571"/>
                      <a:pt x="61773" y="185571"/>
                      <a:pt x="3661" y="142500"/>
                    </a:cubicBezTo>
                    <a:cubicBezTo>
                      <a:pt x="1373" y="140667"/>
                      <a:pt x="0" y="137918"/>
                      <a:pt x="0" y="135169"/>
                    </a:cubicBezTo>
                    <a:cubicBezTo>
                      <a:pt x="0" y="135169"/>
                      <a:pt x="0" y="135169"/>
                      <a:pt x="0" y="9164"/>
                    </a:cubicBezTo>
                    <a:cubicBezTo>
                      <a:pt x="0" y="6415"/>
                      <a:pt x="915" y="4124"/>
                      <a:pt x="3203" y="2291"/>
                    </a:cubicBezTo>
                    <a:cubicBezTo>
                      <a:pt x="4576" y="917"/>
                      <a:pt x="6864" y="0"/>
                      <a:pt x="869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94" name="Group 93">
            <a:extLst>
              <a:ext uri="{FF2B5EF4-FFF2-40B4-BE49-F238E27FC236}">
                <a16:creationId xmlns:a16="http://schemas.microsoft.com/office/drawing/2014/main" id="{8038445F-598A-4257-AC60-D7344E29005A}"/>
              </a:ext>
            </a:extLst>
          </p:cNvPr>
          <p:cNvGrpSpPr/>
          <p:nvPr/>
        </p:nvGrpSpPr>
        <p:grpSpPr>
          <a:xfrm>
            <a:off x="4547041" y="4083751"/>
            <a:ext cx="1417584" cy="1417584"/>
            <a:chOff x="12925719" y="3569863"/>
            <a:chExt cx="1417584" cy="1417584"/>
          </a:xfrm>
        </p:grpSpPr>
        <p:sp>
          <p:nvSpPr>
            <p:cNvPr id="83" name="Oval 82">
              <a:extLst>
                <a:ext uri="{FF2B5EF4-FFF2-40B4-BE49-F238E27FC236}">
                  <a16:creationId xmlns:a16="http://schemas.microsoft.com/office/drawing/2014/main" id="{BC31209D-400F-43D0-B8DC-88A97B168676}"/>
                </a:ext>
              </a:extLst>
            </p:cNvPr>
            <p:cNvSpPr/>
            <p:nvPr/>
          </p:nvSpPr>
          <p:spPr>
            <a:xfrm>
              <a:off x="12925719" y="3569863"/>
              <a:ext cx="1417584" cy="14175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1" name="Group 90">
              <a:extLst>
                <a:ext uri="{FF2B5EF4-FFF2-40B4-BE49-F238E27FC236}">
                  <a16:creationId xmlns:a16="http://schemas.microsoft.com/office/drawing/2014/main" id="{E93516A6-CB4E-4B70-9521-3D6EF10B7FCA}"/>
                </a:ext>
              </a:extLst>
            </p:cNvPr>
            <p:cNvGrpSpPr>
              <a:grpSpLocks noChangeAspect="1"/>
            </p:cNvGrpSpPr>
            <p:nvPr/>
          </p:nvGrpSpPr>
          <p:grpSpPr>
            <a:xfrm>
              <a:off x="13179933" y="3824077"/>
              <a:ext cx="909156" cy="909156"/>
              <a:chOff x="7324950" y="3200401"/>
              <a:chExt cx="457200" cy="457200"/>
            </a:xfrm>
          </p:grpSpPr>
          <p:sp>
            <p:nvSpPr>
              <p:cNvPr id="92" name="AutoShape 28">
                <a:extLst>
                  <a:ext uri="{FF2B5EF4-FFF2-40B4-BE49-F238E27FC236}">
                    <a16:creationId xmlns:a16="http://schemas.microsoft.com/office/drawing/2014/main" id="{8B2156EA-DF0D-49CD-82E6-9E4F58EF7D11}"/>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30">
                <a:extLst>
                  <a:ext uri="{FF2B5EF4-FFF2-40B4-BE49-F238E27FC236}">
                    <a16:creationId xmlns:a16="http://schemas.microsoft.com/office/drawing/2014/main" id="{A7ECFC2D-7ED4-4080-AE3B-D78EFBA086FA}"/>
                  </a:ext>
                </a:extLst>
              </p:cNvPr>
              <p:cNvSpPr>
                <a:spLocks noEditPoints="1"/>
              </p:cNvSpPr>
              <p:nvPr/>
            </p:nvSpPr>
            <p:spPr bwMode="auto">
              <a:xfrm>
                <a:off x="7351120" y="3253895"/>
                <a:ext cx="405438" cy="350212"/>
              </a:xfrm>
              <a:custGeom>
                <a:avLst/>
                <a:gdLst>
                  <a:gd name="T0" fmla="*/ 773 w 886"/>
                  <a:gd name="T1" fmla="*/ 390 h 765"/>
                  <a:gd name="T2" fmla="*/ 811 w 886"/>
                  <a:gd name="T3" fmla="*/ 428 h 765"/>
                  <a:gd name="T4" fmla="*/ 763 w 886"/>
                  <a:gd name="T5" fmla="*/ 428 h 765"/>
                  <a:gd name="T6" fmla="*/ 576 w 886"/>
                  <a:gd name="T7" fmla="*/ 203 h 765"/>
                  <a:gd name="T8" fmla="*/ 879 w 886"/>
                  <a:gd name="T9" fmla="*/ 308 h 765"/>
                  <a:gd name="T10" fmla="*/ 453 w 886"/>
                  <a:gd name="T11" fmla="*/ 119 h 765"/>
                  <a:gd name="T12" fmla="*/ 562 w 886"/>
                  <a:gd name="T13" fmla="*/ 68 h 765"/>
                  <a:gd name="T14" fmla="*/ 535 w 886"/>
                  <a:gd name="T15" fmla="*/ 33 h 765"/>
                  <a:gd name="T16" fmla="*/ 451 w 886"/>
                  <a:gd name="T17" fmla="*/ 0 h 765"/>
                  <a:gd name="T18" fmla="*/ 435 w 886"/>
                  <a:gd name="T19" fmla="*/ 2 h 765"/>
                  <a:gd name="T20" fmla="*/ 435 w 886"/>
                  <a:gd name="T21" fmla="*/ 119 h 765"/>
                  <a:gd name="T22" fmla="*/ 7 w 886"/>
                  <a:gd name="T23" fmla="*/ 308 h 765"/>
                  <a:gd name="T24" fmla="*/ 311 w 886"/>
                  <a:gd name="T25" fmla="*/ 203 h 765"/>
                  <a:gd name="T26" fmla="*/ 801 w 886"/>
                  <a:gd name="T27" fmla="*/ 505 h 765"/>
                  <a:gd name="T28" fmla="*/ 801 w 886"/>
                  <a:gd name="T29" fmla="*/ 457 h 765"/>
                  <a:gd name="T30" fmla="*/ 763 w 886"/>
                  <a:gd name="T31" fmla="*/ 495 h 765"/>
                  <a:gd name="T32" fmla="*/ 75 w 886"/>
                  <a:gd name="T33" fmla="*/ 467 h 765"/>
                  <a:gd name="T34" fmla="*/ 113 w 886"/>
                  <a:gd name="T35" fmla="*/ 505 h 765"/>
                  <a:gd name="T36" fmla="*/ 113 w 886"/>
                  <a:gd name="T37" fmla="*/ 457 h 765"/>
                  <a:gd name="T38" fmla="*/ 85 w 886"/>
                  <a:gd name="T39" fmla="*/ 390 h 765"/>
                  <a:gd name="T40" fmla="*/ 85 w 886"/>
                  <a:gd name="T41" fmla="*/ 438 h 765"/>
                  <a:gd name="T42" fmla="*/ 123 w 886"/>
                  <a:gd name="T43" fmla="*/ 400 h 765"/>
                  <a:gd name="T44" fmla="*/ 471 w 886"/>
                  <a:gd name="T45" fmla="*/ 342 h 765"/>
                  <a:gd name="T46" fmla="*/ 449 w 886"/>
                  <a:gd name="T47" fmla="*/ 326 h 765"/>
                  <a:gd name="T48" fmla="*/ 437 w 886"/>
                  <a:gd name="T49" fmla="*/ 316 h 765"/>
                  <a:gd name="T50" fmla="*/ 443 w 886"/>
                  <a:gd name="T51" fmla="*/ 348 h 765"/>
                  <a:gd name="T52" fmla="*/ 732 w 886"/>
                  <a:gd name="T53" fmla="*/ 608 h 765"/>
                  <a:gd name="T54" fmla="*/ 873 w 886"/>
                  <a:gd name="T55" fmla="*/ 359 h 765"/>
                  <a:gd name="T56" fmla="*/ 713 w 886"/>
                  <a:gd name="T57" fmla="*/ 713 h 765"/>
                  <a:gd name="T58" fmla="*/ 678 w 886"/>
                  <a:gd name="T59" fmla="*/ 692 h 765"/>
                  <a:gd name="T60" fmla="*/ 208 w 886"/>
                  <a:gd name="T61" fmla="*/ 692 h 765"/>
                  <a:gd name="T62" fmla="*/ 173 w 886"/>
                  <a:gd name="T63" fmla="*/ 713 h 765"/>
                  <a:gd name="T64" fmla="*/ 173 w 886"/>
                  <a:gd name="T65" fmla="*/ 765 h 765"/>
                  <a:gd name="T66" fmla="*/ 722 w 886"/>
                  <a:gd name="T67" fmla="*/ 722 h 765"/>
                  <a:gd name="T68" fmla="*/ 13 w 886"/>
                  <a:gd name="T69" fmla="*/ 359 h 765"/>
                  <a:gd name="T70" fmla="*/ 154 w 886"/>
                  <a:gd name="T71" fmla="*/ 608 h 765"/>
                  <a:gd name="T72" fmla="*/ 57 w 886"/>
                  <a:gd name="T73" fmla="*/ 359 h 765"/>
                  <a:gd name="T74" fmla="*/ 430 w 886"/>
                  <a:gd name="T75" fmla="*/ 167 h 765"/>
                  <a:gd name="T76" fmla="*/ 662 w 886"/>
                  <a:gd name="T77" fmla="*/ 326 h 765"/>
                  <a:gd name="T78" fmla="*/ 688 w 886"/>
                  <a:gd name="T79" fmla="*/ 378 h 765"/>
                  <a:gd name="T80" fmla="*/ 688 w 886"/>
                  <a:gd name="T81" fmla="*/ 648 h 765"/>
                  <a:gd name="T82" fmla="*/ 600 w 886"/>
                  <a:gd name="T83" fmla="*/ 648 h 765"/>
                  <a:gd name="T84" fmla="*/ 493 w 886"/>
                  <a:gd name="T85" fmla="*/ 465 h 765"/>
                  <a:gd name="T86" fmla="*/ 393 w 886"/>
                  <a:gd name="T87" fmla="*/ 465 h 765"/>
                  <a:gd name="T88" fmla="*/ 286 w 886"/>
                  <a:gd name="T89" fmla="*/ 648 h 765"/>
                  <a:gd name="T90" fmla="*/ 198 w 886"/>
                  <a:gd name="T91" fmla="*/ 648 h 765"/>
                  <a:gd name="T92" fmla="*/ 198 w 886"/>
                  <a:gd name="T93" fmla="*/ 378 h 765"/>
                  <a:gd name="T94" fmla="*/ 224 w 886"/>
                  <a:gd name="T95" fmla="*/ 326 h 765"/>
                  <a:gd name="T96" fmla="*/ 616 w 886"/>
                  <a:gd name="T97" fmla="*/ 574 h 765"/>
                  <a:gd name="T98" fmla="*/ 577 w 886"/>
                  <a:gd name="T99" fmla="*/ 403 h 765"/>
                  <a:gd name="T100" fmla="*/ 539 w 886"/>
                  <a:gd name="T101" fmla="*/ 574 h 765"/>
                  <a:gd name="T102" fmla="*/ 484 w 886"/>
                  <a:gd name="T103" fmla="*/ 338 h 765"/>
                  <a:gd name="T104" fmla="*/ 443 w 886"/>
                  <a:gd name="T105" fmla="*/ 297 h 765"/>
                  <a:gd name="T106" fmla="*/ 402 w 886"/>
                  <a:gd name="T107" fmla="*/ 338 h 765"/>
                  <a:gd name="T108" fmla="*/ 347 w 886"/>
                  <a:gd name="T109" fmla="*/ 574 h 765"/>
                  <a:gd name="T110" fmla="*/ 286 w 886"/>
                  <a:gd name="T111" fmla="*/ 41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6" h="765">
                    <a:moveTo>
                      <a:pt x="763" y="428"/>
                    </a:moveTo>
                    <a:cubicBezTo>
                      <a:pt x="763" y="400"/>
                      <a:pt x="763" y="400"/>
                      <a:pt x="763" y="400"/>
                    </a:cubicBezTo>
                    <a:cubicBezTo>
                      <a:pt x="763" y="394"/>
                      <a:pt x="767" y="390"/>
                      <a:pt x="773" y="390"/>
                    </a:cubicBezTo>
                    <a:cubicBezTo>
                      <a:pt x="801" y="390"/>
                      <a:pt x="801" y="390"/>
                      <a:pt x="801" y="390"/>
                    </a:cubicBezTo>
                    <a:cubicBezTo>
                      <a:pt x="806" y="390"/>
                      <a:pt x="811" y="394"/>
                      <a:pt x="811" y="400"/>
                    </a:cubicBezTo>
                    <a:cubicBezTo>
                      <a:pt x="811" y="428"/>
                      <a:pt x="811" y="428"/>
                      <a:pt x="811" y="428"/>
                    </a:cubicBezTo>
                    <a:cubicBezTo>
                      <a:pt x="811" y="433"/>
                      <a:pt x="806" y="438"/>
                      <a:pt x="801" y="438"/>
                    </a:cubicBezTo>
                    <a:cubicBezTo>
                      <a:pt x="773" y="438"/>
                      <a:pt x="773" y="438"/>
                      <a:pt x="773" y="438"/>
                    </a:cubicBezTo>
                    <a:cubicBezTo>
                      <a:pt x="767" y="438"/>
                      <a:pt x="763" y="433"/>
                      <a:pt x="763" y="428"/>
                    </a:cubicBezTo>
                    <a:close/>
                    <a:moveTo>
                      <a:pt x="879" y="308"/>
                    </a:moveTo>
                    <a:cubicBezTo>
                      <a:pt x="747" y="203"/>
                      <a:pt x="747" y="203"/>
                      <a:pt x="747" y="203"/>
                    </a:cubicBezTo>
                    <a:cubicBezTo>
                      <a:pt x="576" y="203"/>
                      <a:pt x="576" y="203"/>
                      <a:pt x="576" y="203"/>
                    </a:cubicBezTo>
                    <a:cubicBezTo>
                      <a:pt x="736" y="326"/>
                      <a:pt x="736" y="326"/>
                      <a:pt x="736" y="326"/>
                    </a:cubicBezTo>
                    <a:cubicBezTo>
                      <a:pt x="874" y="326"/>
                      <a:pt x="874" y="326"/>
                      <a:pt x="874" y="326"/>
                    </a:cubicBezTo>
                    <a:cubicBezTo>
                      <a:pt x="883" y="326"/>
                      <a:pt x="886" y="314"/>
                      <a:pt x="879" y="308"/>
                    </a:cubicBezTo>
                    <a:close/>
                    <a:moveTo>
                      <a:pt x="435" y="119"/>
                    </a:moveTo>
                    <a:cubicBezTo>
                      <a:pt x="438" y="118"/>
                      <a:pt x="440" y="118"/>
                      <a:pt x="443" y="118"/>
                    </a:cubicBezTo>
                    <a:cubicBezTo>
                      <a:pt x="446" y="118"/>
                      <a:pt x="450" y="118"/>
                      <a:pt x="453" y="119"/>
                    </a:cubicBezTo>
                    <a:cubicBezTo>
                      <a:pt x="453" y="70"/>
                      <a:pt x="453" y="70"/>
                      <a:pt x="453" y="70"/>
                    </a:cubicBezTo>
                    <a:cubicBezTo>
                      <a:pt x="453" y="69"/>
                      <a:pt x="454" y="68"/>
                      <a:pt x="456" y="68"/>
                    </a:cubicBezTo>
                    <a:cubicBezTo>
                      <a:pt x="562" y="68"/>
                      <a:pt x="562" y="68"/>
                      <a:pt x="562" y="68"/>
                    </a:cubicBezTo>
                    <a:cubicBezTo>
                      <a:pt x="564" y="68"/>
                      <a:pt x="565" y="66"/>
                      <a:pt x="564" y="64"/>
                    </a:cubicBezTo>
                    <a:cubicBezTo>
                      <a:pt x="535" y="36"/>
                      <a:pt x="535" y="36"/>
                      <a:pt x="535" y="36"/>
                    </a:cubicBezTo>
                    <a:cubicBezTo>
                      <a:pt x="534" y="35"/>
                      <a:pt x="534" y="33"/>
                      <a:pt x="535" y="33"/>
                    </a:cubicBezTo>
                    <a:cubicBezTo>
                      <a:pt x="564" y="4"/>
                      <a:pt x="564" y="4"/>
                      <a:pt x="564" y="4"/>
                    </a:cubicBezTo>
                    <a:cubicBezTo>
                      <a:pt x="565" y="3"/>
                      <a:pt x="564" y="0"/>
                      <a:pt x="562" y="0"/>
                    </a:cubicBezTo>
                    <a:cubicBezTo>
                      <a:pt x="451" y="0"/>
                      <a:pt x="451" y="0"/>
                      <a:pt x="451" y="0"/>
                    </a:cubicBezTo>
                    <a:cubicBezTo>
                      <a:pt x="437" y="0"/>
                      <a:pt x="437" y="0"/>
                      <a:pt x="437" y="0"/>
                    </a:cubicBezTo>
                    <a:cubicBezTo>
                      <a:pt x="437" y="0"/>
                      <a:pt x="437" y="0"/>
                      <a:pt x="437" y="0"/>
                    </a:cubicBezTo>
                    <a:cubicBezTo>
                      <a:pt x="436" y="0"/>
                      <a:pt x="435" y="1"/>
                      <a:pt x="435" y="2"/>
                    </a:cubicBezTo>
                    <a:cubicBezTo>
                      <a:pt x="435" y="68"/>
                      <a:pt x="435" y="68"/>
                      <a:pt x="435" y="68"/>
                    </a:cubicBezTo>
                    <a:cubicBezTo>
                      <a:pt x="435" y="68"/>
                      <a:pt x="435" y="68"/>
                      <a:pt x="435" y="68"/>
                    </a:cubicBezTo>
                    <a:lnTo>
                      <a:pt x="435" y="119"/>
                    </a:lnTo>
                    <a:close/>
                    <a:moveTo>
                      <a:pt x="311" y="203"/>
                    </a:moveTo>
                    <a:cubicBezTo>
                      <a:pt x="139" y="203"/>
                      <a:pt x="139" y="203"/>
                      <a:pt x="139" y="203"/>
                    </a:cubicBezTo>
                    <a:cubicBezTo>
                      <a:pt x="7" y="308"/>
                      <a:pt x="7" y="308"/>
                      <a:pt x="7" y="308"/>
                    </a:cubicBezTo>
                    <a:cubicBezTo>
                      <a:pt x="0" y="314"/>
                      <a:pt x="3" y="326"/>
                      <a:pt x="12" y="326"/>
                    </a:cubicBezTo>
                    <a:cubicBezTo>
                      <a:pt x="152" y="326"/>
                      <a:pt x="152" y="326"/>
                      <a:pt x="152" y="326"/>
                    </a:cubicBezTo>
                    <a:lnTo>
                      <a:pt x="311" y="203"/>
                    </a:lnTo>
                    <a:close/>
                    <a:moveTo>
                      <a:pt x="763" y="495"/>
                    </a:moveTo>
                    <a:cubicBezTo>
                      <a:pt x="763" y="501"/>
                      <a:pt x="767" y="505"/>
                      <a:pt x="773" y="505"/>
                    </a:cubicBezTo>
                    <a:cubicBezTo>
                      <a:pt x="801" y="505"/>
                      <a:pt x="801" y="505"/>
                      <a:pt x="801" y="505"/>
                    </a:cubicBezTo>
                    <a:cubicBezTo>
                      <a:pt x="806" y="505"/>
                      <a:pt x="811" y="501"/>
                      <a:pt x="811" y="495"/>
                    </a:cubicBezTo>
                    <a:cubicBezTo>
                      <a:pt x="811" y="467"/>
                      <a:pt x="811" y="467"/>
                      <a:pt x="811" y="467"/>
                    </a:cubicBezTo>
                    <a:cubicBezTo>
                      <a:pt x="811" y="462"/>
                      <a:pt x="806" y="457"/>
                      <a:pt x="801" y="457"/>
                    </a:cubicBezTo>
                    <a:cubicBezTo>
                      <a:pt x="773" y="457"/>
                      <a:pt x="773" y="457"/>
                      <a:pt x="773" y="457"/>
                    </a:cubicBezTo>
                    <a:cubicBezTo>
                      <a:pt x="767" y="457"/>
                      <a:pt x="763" y="462"/>
                      <a:pt x="763" y="467"/>
                    </a:cubicBezTo>
                    <a:lnTo>
                      <a:pt x="763" y="495"/>
                    </a:lnTo>
                    <a:close/>
                    <a:moveTo>
                      <a:pt x="113" y="457"/>
                    </a:moveTo>
                    <a:cubicBezTo>
                      <a:pt x="85" y="457"/>
                      <a:pt x="85" y="457"/>
                      <a:pt x="85" y="457"/>
                    </a:cubicBezTo>
                    <a:cubicBezTo>
                      <a:pt x="80" y="457"/>
                      <a:pt x="75" y="462"/>
                      <a:pt x="75" y="467"/>
                    </a:cubicBezTo>
                    <a:cubicBezTo>
                      <a:pt x="75" y="495"/>
                      <a:pt x="75" y="495"/>
                      <a:pt x="75" y="495"/>
                    </a:cubicBezTo>
                    <a:cubicBezTo>
                      <a:pt x="75" y="501"/>
                      <a:pt x="80" y="505"/>
                      <a:pt x="85" y="505"/>
                    </a:cubicBezTo>
                    <a:cubicBezTo>
                      <a:pt x="113" y="505"/>
                      <a:pt x="113" y="505"/>
                      <a:pt x="113" y="505"/>
                    </a:cubicBezTo>
                    <a:cubicBezTo>
                      <a:pt x="119" y="505"/>
                      <a:pt x="123" y="501"/>
                      <a:pt x="123" y="495"/>
                    </a:cubicBezTo>
                    <a:cubicBezTo>
                      <a:pt x="123" y="467"/>
                      <a:pt x="123" y="467"/>
                      <a:pt x="123" y="467"/>
                    </a:cubicBezTo>
                    <a:cubicBezTo>
                      <a:pt x="123" y="462"/>
                      <a:pt x="119" y="457"/>
                      <a:pt x="113" y="457"/>
                    </a:cubicBezTo>
                    <a:close/>
                    <a:moveTo>
                      <a:pt x="123" y="400"/>
                    </a:moveTo>
                    <a:cubicBezTo>
                      <a:pt x="123" y="394"/>
                      <a:pt x="119" y="390"/>
                      <a:pt x="113" y="390"/>
                    </a:cubicBezTo>
                    <a:cubicBezTo>
                      <a:pt x="85" y="390"/>
                      <a:pt x="85" y="390"/>
                      <a:pt x="85" y="390"/>
                    </a:cubicBezTo>
                    <a:cubicBezTo>
                      <a:pt x="80" y="390"/>
                      <a:pt x="75" y="394"/>
                      <a:pt x="75" y="400"/>
                    </a:cubicBezTo>
                    <a:cubicBezTo>
                      <a:pt x="75" y="428"/>
                      <a:pt x="75" y="428"/>
                      <a:pt x="75" y="428"/>
                    </a:cubicBezTo>
                    <a:cubicBezTo>
                      <a:pt x="75" y="433"/>
                      <a:pt x="80" y="438"/>
                      <a:pt x="85" y="438"/>
                    </a:cubicBezTo>
                    <a:cubicBezTo>
                      <a:pt x="113" y="438"/>
                      <a:pt x="113" y="438"/>
                      <a:pt x="113" y="438"/>
                    </a:cubicBezTo>
                    <a:cubicBezTo>
                      <a:pt x="119" y="438"/>
                      <a:pt x="123" y="433"/>
                      <a:pt x="123" y="428"/>
                    </a:cubicBezTo>
                    <a:lnTo>
                      <a:pt x="123" y="400"/>
                    </a:lnTo>
                    <a:close/>
                    <a:moveTo>
                      <a:pt x="443" y="348"/>
                    </a:moveTo>
                    <a:cubicBezTo>
                      <a:pt x="465" y="348"/>
                      <a:pt x="465" y="348"/>
                      <a:pt x="465" y="348"/>
                    </a:cubicBezTo>
                    <a:cubicBezTo>
                      <a:pt x="468" y="348"/>
                      <a:pt x="471" y="345"/>
                      <a:pt x="471" y="342"/>
                    </a:cubicBezTo>
                    <a:cubicBezTo>
                      <a:pt x="471" y="338"/>
                      <a:pt x="468" y="336"/>
                      <a:pt x="465" y="336"/>
                    </a:cubicBezTo>
                    <a:cubicBezTo>
                      <a:pt x="449" y="336"/>
                      <a:pt x="449" y="336"/>
                      <a:pt x="449" y="336"/>
                    </a:cubicBezTo>
                    <a:cubicBezTo>
                      <a:pt x="449" y="326"/>
                      <a:pt x="449" y="326"/>
                      <a:pt x="449" y="326"/>
                    </a:cubicBezTo>
                    <a:cubicBezTo>
                      <a:pt x="449" y="316"/>
                      <a:pt x="449" y="316"/>
                      <a:pt x="449" y="316"/>
                    </a:cubicBezTo>
                    <a:cubicBezTo>
                      <a:pt x="449" y="312"/>
                      <a:pt x="446" y="310"/>
                      <a:pt x="443" y="310"/>
                    </a:cubicBezTo>
                    <a:cubicBezTo>
                      <a:pt x="440" y="310"/>
                      <a:pt x="437" y="312"/>
                      <a:pt x="437" y="316"/>
                    </a:cubicBezTo>
                    <a:cubicBezTo>
                      <a:pt x="437" y="326"/>
                      <a:pt x="437" y="326"/>
                      <a:pt x="437" y="326"/>
                    </a:cubicBezTo>
                    <a:cubicBezTo>
                      <a:pt x="437" y="342"/>
                      <a:pt x="437" y="342"/>
                      <a:pt x="437" y="342"/>
                    </a:cubicBezTo>
                    <a:cubicBezTo>
                      <a:pt x="437" y="345"/>
                      <a:pt x="440" y="348"/>
                      <a:pt x="443" y="348"/>
                    </a:cubicBezTo>
                    <a:close/>
                    <a:moveTo>
                      <a:pt x="829" y="564"/>
                    </a:moveTo>
                    <a:cubicBezTo>
                      <a:pt x="732" y="564"/>
                      <a:pt x="732" y="564"/>
                      <a:pt x="732" y="564"/>
                    </a:cubicBezTo>
                    <a:cubicBezTo>
                      <a:pt x="732" y="608"/>
                      <a:pt x="732" y="608"/>
                      <a:pt x="732" y="608"/>
                    </a:cubicBezTo>
                    <a:cubicBezTo>
                      <a:pt x="851" y="608"/>
                      <a:pt x="851" y="608"/>
                      <a:pt x="851" y="608"/>
                    </a:cubicBezTo>
                    <a:cubicBezTo>
                      <a:pt x="863" y="608"/>
                      <a:pt x="873" y="598"/>
                      <a:pt x="873" y="586"/>
                    </a:cubicBezTo>
                    <a:cubicBezTo>
                      <a:pt x="873" y="359"/>
                      <a:pt x="873" y="359"/>
                      <a:pt x="873" y="359"/>
                    </a:cubicBezTo>
                    <a:cubicBezTo>
                      <a:pt x="829" y="359"/>
                      <a:pt x="829" y="359"/>
                      <a:pt x="829" y="359"/>
                    </a:cubicBezTo>
                    <a:lnTo>
                      <a:pt x="829" y="564"/>
                    </a:lnTo>
                    <a:close/>
                    <a:moveTo>
                      <a:pt x="713" y="713"/>
                    </a:moveTo>
                    <a:cubicBezTo>
                      <a:pt x="687" y="713"/>
                      <a:pt x="687" y="713"/>
                      <a:pt x="687" y="713"/>
                    </a:cubicBezTo>
                    <a:cubicBezTo>
                      <a:pt x="687" y="701"/>
                      <a:pt x="687" y="701"/>
                      <a:pt x="687" y="701"/>
                    </a:cubicBezTo>
                    <a:cubicBezTo>
                      <a:pt x="687" y="696"/>
                      <a:pt x="683" y="692"/>
                      <a:pt x="678" y="692"/>
                    </a:cubicBezTo>
                    <a:cubicBezTo>
                      <a:pt x="600" y="692"/>
                      <a:pt x="600" y="692"/>
                      <a:pt x="600" y="692"/>
                    </a:cubicBezTo>
                    <a:cubicBezTo>
                      <a:pt x="286" y="692"/>
                      <a:pt x="286" y="692"/>
                      <a:pt x="286" y="692"/>
                    </a:cubicBezTo>
                    <a:cubicBezTo>
                      <a:pt x="208" y="692"/>
                      <a:pt x="208" y="692"/>
                      <a:pt x="208" y="692"/>
                    </a:cubicBezTo>
                    <a:cubicBezTo>
                      <a:pt x="203" y="692"/>
                      <a:pt x="199" y="696"/>
                      <a:pt x="199" y="701"/>
                    </a:cubicBezTo>
                    <a:cubicBezTo>
                      <a:pt x="199" y="713"/>
                      <a:pt x="199" y="713"/>
                      <a:pt x="199" y="713"/>
                    </a:cubicBezTo>
                    <a:cubicBezTo>
                      <a:pt x="173" y="713"/>
                      <a:pt x="173" y="713"/>
                      <a:pt x="173" y="713"/>
                    </a:cubicBezTo>
                    <a:cubicBezTo>
                      <a:pt x="168" y="713"/>
                      <a:pt x="164" y="717"/>
                      <a:pt x="164" y="722"/>
                    </a:cubicBezTo>
                    <a:cubicBezTo>
                      <a:pt x="164" y="756"/>
                      <a:pt x="164" y="756"/>
                      <a:pt x="164" y="756"/>
                    </a:cubicBezTo>
                    <a:cubicBezTo>
                      <a:pt x="164" y="761"/>
                      <a:pt x="168" y="765"/>
                      <a:pt x="173" y="765"/>
                    </a:cubicBezTo>
                    <a:cubicBezTo>
                      <a:pt x="713" y="765"/>
                      <a:pt x="713" y="765"/>
                      <a:pt x="713" y="765"/>
                    </a:cubicBezTo>
                    <a:cubicBezTo>
                      <a:pt x="718" y="765"/>
                      <a:pt x="722" y="761"/>
                      <a:pt x="722" y="756"/>
                    </a:cubicBezTo>
                    <a:cubicBezTo>
                      <a:pt x="722" y="722"/>
                      <a:pt x="722" y="722"/>
                      <a:pt x="722" y="722"/>
                    </a:cubicBezTo>
                    <a:cubicBezTo>
                      <a:pt x="722" y="717"/>
                      <a:pt x="718" y="713"/>
                      <a:pt x="713" y="713"/>
                    </a:cubicBezTo>
                    <a:close/>
                    <a:moveTo>
                      <a:pt x="57" y="359"/>
                    </a:moveTo>
                    <a:cubicBezTo>
                      <a:pt x="13" y="359"/>
                      <a:pt x="13" y="359"/>
                      <a:pt x="13" y="359"/>
                    </a:cubicBezTo>
                    <a:cubicBezTo>
                      <a:pt x="13" y="586"/>
                      <a:pt x="13" y="586"/>
                      <a:pt x="13" y="586"/>
                    </a:cubicBezTo>
                    <a:cubicBezTo>
                      <a:pt x="13" y="598"/>
                      <a:pt x="23" y="608"/>
                      <a:pt x="35" y="608"/>
                    </a:cubicBezTo>
                    <a:cubicBezTo>
                      <a:pt x="154" y="608"/>
                      <a:pt x="154" y="608"/>
                      <a:pt x="154" y="608"/>
                    </a:cubicBezTo>
                    <a:cubicBezTo>
                      <a:pt x="154" y="564"/>
                      <a:pt x="154" y="564"/>
                      <a:pt x="154" y="564"/>
                    </a:cubicBezTo>
                    <a:cubicBezTo>
                      <a:pt x="57" y="564"/>
                      <a:pt x="57" y="564"/>
                      <a:pt x="57" y="564"/>
                    </a:cubicBezTo>
                    <a:lnTo>
                      <a:pt x="57" y="359"/>
                    </a:lnTo>
                    <a:close/>
                    <a:moveTo>
                      <a:pt x="224" y="326"/>
                    </a:moveTo>
                    <a:cubicBezTo>
                      <a:pt x="383" y="203"/>
                      <a:pt x="383" y="203"/>
                      <a:pt x="383" y="203"/>
                    </a:cubicBezTo>
                    <a:cubicBezTo>
                      <a:pt x="430" y="167"/>
                      <a:pt x="430" y="167"/>
                      <a:pt x="430" y="167"/>
                    </a:cubicBezTo>
                    <a:cubicBezTo>
                      <a:pt x="437" y="161"/>
                      <a:pt x="449" y="161"/>
                      <a:pt x="456" y="167"/>
                    </a:cubicBezTo>
                    <a:cubicBezTo>
                      <a:pt x="503" y="203"/>
                      <a:pt x="503" y="203"/>
                      <a:pt x="503" y="203"/>
                    </a:cubicBezTo>
                    <a:cubicBezTo>
                      <a:pt x="662" y="326"/>
                      <a:pt x="662" y="326"/>
                      <a:pt x="662" y="326"/>
                    </a:cubicBezTo>
                    <a:cubicBezTo>
                      <a:pt x="679" y="340"/>
                      <a:pt x="679" y="340"/>
                      <a:pt x="679" y="340"/>
                    </a:cubicBezTo>
                    <a:cubicBezTo>
                      <a:pt x="685" y="344"/>
                      <a:pt x="688" y="350"/>
                      <a:pt x="688" y="357"/>
                    </a:cubicBezTo>
                    <a:cubicBezTo>
                      <a:pt x="688" y="378"/>
                      <a:pt x="688" y="378"/>
                      <a:pt x="688" y="378"/>
                    </a:cubicBezTo>
                    <a:cubicBezTo>
                      <a:pt x="688" y="564"/>
                      <a:pt x="688" y="564"/>
                      <a:pt x="688" y="564"/>
                    </a:cubicBezTo>
                    <a:cubicBezTo>
                      <a:pt x="688" y="608"/>
                      <a:pt x="688" y="608"/>
                      <a:pt x="688" y="608"/>
                    </a:cubicBezTo>
                    <a:cubicBezTo>
                      <a:pt x="688" y="648"/>
                      <a:pt x="688" y="648"/>
                      <a:pt x="688" y="648"/>
                    </a:cubicBezTo>
                    <a:cubicBezTo>
                      <a:pt x="644" y="648"/>
                      <a:pt x="644" y="648"/>
                      <a:pt x="644" y="648"/>
                    </a:cubicBezTo>
                    <a:cubicBezTo>
                      <a:pt x="638" y="648"/>
                      <a:pt x="638" y="648"/>
                      <a:pt x="638" y="648"/>
                    </a:cubicBezTo>
                    <a:cubicBezTo>
                      <a:pt x="600" y="648"/>
                      <a:pt x="600" y="648"/>
                      <a:pt x="600" y="648"/>
                    </a:cubicBezTo>
                    <a:cubicBezTo>
                      <a:pt x="493" y="648"/>
                      <a:pt x="493" y="648"/>
                      <a:pt x="493" y="648"/>
                    </a:cubicBezTo>
                    <a:cubicBezTo>
                      <a:pt x="493" y="648"/>
                      <a:pt x="493" y="648"/>
                      <a:pt x="493" y="648"/>
                    </a:cubicBezTo>
                    <a:cubicBezTo>
                      <a:pt x="493" y="465"/>
                      <a:pt x="493" y="465"/>
                      <a:pt x="493" y="465"/>
                    </a:cubicBezTo>
                    <a:cubicBezTo>
                      <a:pt x="493" y="463"/>
                      <a:pt x="491" y="461"/>
                      <a:pt x="489" y="461"/>
                    </a:cubicBezTo>
                    <a:cubicBezTo>
                      <a:pt x="397" y="461"/>
                      <a:pt x="397" y="461"/>
                      <a:pt x="397" y="461"/>
                    </a:cubicBezTo>
                    <a:cubicBezTo>
                      <a:pt x="395" y="461"/>
                      <a:pt x="393" y="463"/>
                      <a:pt x="393" y="465"/>
                    </a:cubicBezTo>
                    <a:cubicBezTo>
                      <a:pt x="393" y="648"/>
                      <a:pt x="393" y="648"/>
                      <a:pt x="393" y="648"/>
                    </a:cubicBezTo>
                    <a:cubicBezTo>
                      <a:pt x="393" y="648"/>
                      <a:pt x="393" y="648"/>
                      <a:pt x="393" y="648"/>
                    </a:cubicBezTo>
                    <a:cubicBezTo>
                      <a:pt x="286" y="648"/>
                      <a:pt x="286" y="648"/>
                      <a:pt x="286" y="648"/>
                    </a:cubicBezTo>
                    <a:cubicBezTo>
                      <a:pt x="248" y="648"/>
                      <a:pt x="248" y="648"/>
                      <a:pt x="248" y="648"/>
                    </a:cubicBezTo>
                    <a:cubicBezTo>
                      <a:pt x="242" y="648"/>
                      <a:pt x="242" y="648"/>
                      <a:pt x="242" y="648"/>
                    </a:cubicBezTo>
                    <a:cubicBezTo>
                      <a:pt x="198" y="648"/>
                      <a:pt x="198" y="648"/>
                      <a:pt x="198" y="648"/>
                    </a:cubicBezTo>
                    <a:cubicBezTo>
                      <a:pt x="198" y="608"/>
                      <a:pt x="198" y="608"/>
                      <a:pt x="198" y="608"/>
                    </a:cubicBezTo>
                    <a:cubicBezTo>
                      <a:pt x="198" y="564"/>
                      <a:pt x="198" y="564"/>
                      <a:pt x="198" y="564"/>
                    </a:cubicBezTo>
                    <a:cubicBezTo>
                      <a:pt x="198" y="378"/>
                      <a:pt x="198" y="378"/>
                      <a:pt x="198" y="378"/>
                    </a:cubicBezTo>
                    <a:cubicBezTo>
                      <a:pt x="198" y="357"/>
                      <a:pt x="198" y="357"/>
                      <a:pt x="198" y="357"/>
                    </a:cubicBezTo>
                    <a:cubicBezTo>
                      <a:pt x="198" y="350"/>
                      <a:pt x="201" y="344"/>
                      <a:pt x="207" y="340"/>
                    </a:cubicBezTo>
                    <a:lnTo>
                      <a:pt x="224" y="326"/>
                    </a:lnTo>
                    <a:close/>
                    <a:moveTo>
                      <a:pt x="539" y="574"/>
                    </a:moveTo>
                    <a:cubicBezTo>
                      <a:pt x="600" y="574"/>
                      <a:pt x="600" y="574"/>
                      <a:pt x="600" y="574"/>
                    </a:cubicBezTo>
                    <a:cubicBezTo>
                      <a:pt x="616" y="574"/>
                      <a:pt x="616" y="574"/>
                      <a:pt x="616" y="574"/>
                    </a:cubicBezTo>
                    <a:cubicBezTo>
                      <a:pt x="616" y="442"/>
                      <a:pt x="616" y="442"/>
                      <a:pt x="616" y="442"/>
                    </a:cubicBezTo>
                    <a:cubicBezTo>
                      <a:pt x="616" y="429"/>
                      <a:pt x="610" y="417"/>
                      <a:pt x="600" y="410"/>
                    </a:cubicBezTo>
                    <a:cubicBezTo>
                      <a:pt x="593" y="406"/>
                      <a:pt x="586" y="403"/>
                      <a:pt x="577" y="403"/>
                    </a:cubicBezTo>
                    <a:cubicBezTo>
                      <a:pt x="577" y="403"/>
                      <a:pt x="577" y="403"/>
                      <a:pt x="577" y="403"/>
                    </a:cubicBezTo>
                    <a:cubicBezTo>
                      <a:pt x="556" y="403"/>
                      <a:pt x="539" y="421"/>
                      <a:pt x="539" y="442"/>
                    </a:cubicBezTo>
                    <a:lnTo>
                      <a:pt x="539" y="574"/>
                    </a:lnTo>
                    <a:close/>
                    <a:moveTo>
                      <a:pt x="402" y="338"/>
                    </a:moveTo>
                    <a:cubicBezTo>
                      <a:pt x="402" y="360"/>
                      <a:pt x="421" y="378"/>
                      <a:pt x="443" y="378"/>
                    </a:cubicBezTo>
                    <a:cubicBezTo>
                      <a:pt x="465" y="378"/>
                      <a:pt x="484" y="360"/>
                      <a:pt x="484" y="338"/>
                    </a:cubicBezTo>
                    <a:cubicBezTo>
                      <a:pt x="484" y="334"/>
                      <a:pt x="483" y="330"/>
                      <a:pt x="482" y="326"/>
                    </a:cubicBezTo>
                    <a:cubicBezTo>
                      <a:pt x="480" y="321"/>
                      <a:pt x="478" y="316"/>
                      <a:pt x="474" y="311"/>
                    </a:cubicBezTo>
                    <a:cubicBezTo>
                      <a:pt x="467" y="303"/>
                      <a:pt x="455" y="297"/>
                      <a:pt x="443" y="297"/>
                    </a:cubicBezTo>
                    <a:cubicBezTo>
                      <a:pt x="431" y="297"/>
                      <a:pt x="419" y="303"/>
                      <a:pt x="412" y="311"/>
                    </a:cubicBezTo>
                    <a:cubicBezTo>
                      <a:pt x="408" y="316"/>
                      <a:pt x="406" y="321"/>
                      <a:pt x="404" y="326"/>
                    </a:cubicBezTo>
                    <a:cubicBezTo>
                      <a:pt x="403" y="330"/>
                      <a:pt x="402" y="334"/>
                      <a:pt x="402" y="338"/>
                    </a:cubicBezTo>
                    <a:close/>
                    <a:moveTo>
                      <a:pt x="270" y="574"/>
                    </a:moveTo>
                    <a:cubicBezTo>
                      <a:pt x="286" y="574"/>
                      <a:pt x="286" y="574"/>
                      <a:pt x="286" y="574"/>
                    </a:cubicBezTo>
                    <a:cubicBezTo>
                      <a:pt x="347" y="574"/>
                      <a:pt x="347" y="574"/>
                      <a:pt x="347" y="574"/>
                    </a:cubicBezTo>
                    <a:cubicBezTo>
                      <a:pt x="347" y="442"/>
                      <a:pt x="347" y="442"/>
                      <a:pt x="347" y="442"/>
                    </a:cubicBezTo>
                    <a:cubicBezTo>
                      <a:pt x="347" y="421"/>
                      <a:pt x="330" y="403"/>
                      <a:pt x="309" y="403"/>
                    </a:cubicBezTo>
                    <a:cubicBezTo>
                      <a:pt x="300" y="403"/>
                      <a:pt x="293" y="406"/>
                      <a:pt x="286" y="410"/>
                    </a:cubicBezTo>
                    <a:cubicBezTo>
                      <a:pt x="276" y="417"/>
                      <a:pt x="270" y="429"/>
                      <a:pt x="270" y="442"/>
                    </a:cubicBezTo>
                    <a:lnTo>
                      <a:pt x="270" y="57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7" name="Group 76">
            <a:extLst>
              <a:ext uri="{FF2B5EF4-FFF2-40B4-BE49-F238E27FC236}">
                <a16:creationId xmlns:a16="http://schemas.microsoft.com/office/drawing/2014/main" id="{1685C263-7283-4332-AFEE-C8EF8CEE0AA6}"/>
              </a:ext>
            </a:extLst>
          </p:cNvPr>
          <p:cNvGrpSpPr/>
          <p:nvPr/>
        </p:nvGrpSpPr>
        <p:grpSpPr>
          <a:xfrm>
            <a:off x="8117917" y="4083751"/>
            <a:ext cx="1417584" cy="1417584"/>
            <a:chOff x="13242330" y="1494222"/>
            <a:chExt cx="1417584" cy="1417584"/>
          </a:xfrm>
        </p:grpSpPr>
        <p:sp>
          <p:nvSpPr>
            <p:cNvPr id="76" name="Oval 75">
              <a:extLst>
                <a:ext uri="{FF2B5EF4-FFF2-40B4-BE49-F238E27FC236}">
                  <a16:creationId xmlns:a16="http://schemas.microsoft.com/office/drawing/2014/main" id="{2E03575B-6A41-4111-961D-C9841A976600}"/>
                </a:ext>
              </a:extLst>
            </p:cNvPr>
            <p:cNvSpPr/>
            <p:nvPr/>
          </p:nvSpPr>
          <p:spPr>
            <a:xfrm>
              <a:off x="13242330" y="1494222"/>
              <a:ext cx="1417584" cy="1417584"/>
            </a:xfrm>
            <a:prstGeom prst="ellipse">
              <a:avLst/>
            </a:pr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3" name="Group 4">
              <a:extLst>
                <a:ext uri="{FF2B5EF4-FFF2-40B4-BE49-F238E27FC236}">
                  <a16:creationId xmlns:a16="http://schemas.microsoft.com/office/drawing/2014/main" id="{884E5B05-9ACF-45DA-B128-D2E2730D008C}"/>
                </a:ext>
              </a:extLst>
            </p:cNvPr>
            <p:cNvGrpSpPr>
              <a:grpSpLocks noChangeAspect="1"/>
            </p:cNvGrpSpPr>
            <p:nvPr/>
          </p:nvGrpSpPr>
          <p:grpSpPr bwMode="auto">
            <a:xfrm>
              <a:off x="13485602" y="1737494"/>
              <a:ext cx="931041" cy="931041"/>
              <a:chOff x="2652" y="972"/>
              <a:chExt cx="2376" cy="2376"/>
            </a:xfrm>
          </p:grpSpPr>
          <p:sp>
            <p:nvSpPr>
              <p:cNvPr id="74" name="AutoShape 3">
                <a:extLst>
                  <a:ext uri="{FF2B5EF4-FFF2-40B4-BE49-F238E27FC236}">
                    <a16:creationId xmlns:a16="http://schemas.microsoft.com/office/drawing/2014/main" id="{0E6BF0BC-7AFF-4F99-B934-1B5881F9B0AC}"/>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5">
                <a:extLst>
                  <a:ext uri="{FF2B5EF4-FFF2-40B4-BE49-F238E27FC236}">
                    <a16:creationId xmlns:a16="http://schemas.microsoft.com/office/drawing/2014/main" id="{2EC81480-E2C4-43B5-8B0D-A1779D71385B}"/>
                  </a:ext>
                </a:extLst>
              </p:cNvPr>
              <p:cNvSpPr>
                <a:spLocks noEditPoints="1"/>
              </p:cNvSpPr>
              <p:nvPr/>
            </p:nvSpPr>
            <p:spPr bwMode="auto">
              <a:xfrm>
                <a:off x="2738" y="1357"/>
                <a:ext cx="2257" cy="1608"/>
              </a:xfrm>
              <a:custGeom>
                <a:avLst/>
                <a:gdLst>
                  <a:gd name="T0" fmla="*/ 329 w 949"/>
                  <a:gd name="T1" fmla="*/ 466 h 676"/>
                  <a:gd name="T2" fmla="*/ 341 w 949"/>
                  <a:gd name="T3" fmla="*/ 423 h 676"/>
                  <a:gd name="T4" fmla="*/ 377 w 949"/>
                  <a:gd name="T5" fmla="*/ 352 h 676"/>
                  <a:gd name="T6" fmla="*/ 356 w 949"/>
                  <a:gd name="T7" fmla="*/ 315 h 676"/>
                  <a:gd name="T8" fmla="*/ 339 w 949"/>
                  <a:gd name="T9" fmla="*/ 270 h 676"/>
                  <a:gd name="T10" fmla="*/ 331 w 949"/>
                  <a:gd name="T11" fmla="*/ 220 h 676"/>
                  <a:gd name="T12" fmla="*/ 353 w 949"/>
                  <a:gd name="T13" fmla="*/ 151 h 676"/>
                  <a:gd name="T14" fmla="*/ 38 w 949"/>
                  <a:gd name="T15" fmla="*/ 225 h 676"/>
                  <a:gd name="T16" fmla="*/ 93 w 949"/>
                  <a:gd name="T17" fmla="*/ 443 h 676"/>
                  <a:gd name="T18" fmla="*/ 93 w 949"/>
                  <a:gd name="T19" fmla="*/ 509 h 676"/>
                  <a:gd name="T20" fmla="*/ 245 w 949"/>
                  <a:gd name="T21" fmla="*/ 543 h 676"/>
                  <a:gd name="T22" fmla="*/ 254 w 949"/>
                  <a:gd name="T23" fmla="*/ 534 h 676"/>
                  <a:gd name="T24" fmla="*/ 263 w 949"/>
                  <a:gd name="T25" fmla="*/ 87 h 676"/>
                  <a:gd name="T26" fmla="*/ 464 w 949"/>
                  <a:gd name="T27" fmla="*/ 18 h 676"/>
                  <a:gd name="T28" fmla="*/ 625 w 949"/>
                  <a:gd name="T29" fmla="*/ 70 h 676"/>
                  <a:gd name="T30" fmla="*/ 626 w 949"/>
                  <a:gd name="T31" fmla="*/ 88 h 676"/>
                  <a:gd name="T32" fmla="*/ 666 w 949"/>
                  <a:gd name="T33" fmla="*/ 87 h 676"/>
                  <a:gd name="T34" fmla="*/ 667 w 949"/>
                  <a:gd name="T35" fmla="*/ 86 h 676"/>
                  <a:gd name="T36" fmla="*/ 668 w 949"/>
                  <a:gd name="T37" fmla="*/ 86 h 676"/>
                  <a:gd name="T38" fmla="*/ 671 w 949"/>
                  <a:gd name="T39" fmla="*/ 84 h 676"/>
                  <a:gd name="T40" fmla="*/ 673 w 949"/>
                  <a:gd name="T41" fmla="*/ 83 h 676"/>
                  <a:gd name="T42" fmla="*/ 674 w 949"/>
                  <a:gd name="T43" fmla="*/ 81 h 676"/>
                  <a:gd name="T44" fmla="*/ 675 w 949"/>
                  <a:gd name="T45" fmla="*/ 78 h 676"/>
                  <a:gd name="T46" fmla="*/ 675 w 949"/>
                  <a:gd name="T47" fmla="*/ 76 h 676"/>
                  <a:gd name="T48" fmla="*/ 661 w 949"/>
                  <a:gd name="T49" fmla="*/ 37 h 676"/>
                  <a:gd name="T50" fmla="*/ 644 w 949"/>
                  <a:gd name="T51" fmla="*/ 43 h 676"/>
                  <a:gd name="T52" fmla="*/ 464 w 949"/>
                  <a:gd name="T53" fmla="*/ 0 h 676"/>
                  <a:gd name="T54" fmla="*/ 255 w 949"/>
                  <a:gd name="T55" fmla="*/ 83 h 676"/>
                  <a:gd name="T56" fmla="*/ 660 w 949"/>
                  <a:gd name="T57" fmla="*/ 591 h 676"/>
                  <a:gd name="T58" fmla="*/ 290 w 949"/>
                  <a:gd name="T59" fmla="*/ 607 h 676"/>
                  <a:gd name="T60" fmla="*/ 311 w 949"/>
                  <a:gd name="T61" fmla="*/ 597 h 676"/>
                  <a:gd name="T62" fmla="*/ 262 w 949"/>
                  <a:gd name="T63" fmla="*/ 589 h 676"/>
                  <a:gd name="T64" fmla="*/ 261 w 949"/>
                  <a:gd name="T65" fmla="*/ 590 h 676"/>
                  <a:gd name="T66" fmla="*/ 260 w 949"/>
                  <a:gd name="T67" fmla="*/ 590 h 676"/>
                  <a:gd name="T68" fmla="*/ 257 w 949"/>
                  <a:gd name="T69" fmla="*/ 592 h 676"/>
                  <a:gd name="T70" fmla="*/ 255 w 949"/>
                  <a:gd name="T71" fmla="*/ 593 h 676"/>
                  <a:gd name="T72" fmla="*/ 254 w 949"/>
                  <a:gd name="T73" fmla="*/ 596 h 676"/>
                  <a:gd name="T74" fmla="*/ 253 w 949"/>
                  <a:gd name="T75" fmla="*/ 600 h 676"/>
                  <a:gd name="T76" fmla="*/ 254 w 949"/>
                  <a:gd name="T77" fmla="*/ 601 h 676"/>
                  <a:gd name="T78" fmla="*/ 276 w 949"/>
                  <a:gd name="T79" fmla="*/ 645 h 676"/>
                  <a:gd name="T80" fmla="*/ 284 w 949"/>
                  <a:gd name="T81" fmla="*/ 633 h 676"/>
                  <a:gd name="T82" fmla="*/ 464 w 949"/>
                  <a:gd name="T83" fmla="*/ 676 h 676"/>
                  <a:gd name="T84" fmla="*/ 673 w 949"/>
                  <a:gd name="T85" fmla="*/ 593 h 676"/>
                  <a:gd name="T86" fmla="*/ 876 w 949"/>
                  <a:gd name="T87" fmla="*/ 228 h 676"/>
                  <a:gd name="T88" fmla="*/ 583 w 949"/>
                  <a:gd name="T89" fmla="*/ 202 h 676"/>
                  <a:gd name="T90" fmla="*/ 586 w 949"/>
                  <a:gd name="T91" fmla="*/ 206 h 676"/>
                  <a:gd name="T92" fmla="*/ 578 w 949"/>
                  <a:gd name="T93" fmla="*/ 258 h 676"/>
                  <a:gd name="T94" fmla="*/ 575 w 949"/>
                  <a:gd name="T95" fmla="*/ 300 h 676"/>
                  <a:gd name="T96" fmla="*/ 542 w 949"/>
                  <a:gd name="T97" fmla="*/ 362 h 676"/>
                  <a:gd name="T98" fmla="*/ 579 w 949"/>
                  <a:gd name="T99" fmla="*/ 408 h 676"/>
                  <a:gd name="T100" fmla="*/ 639 w 949"/>
                  <a:gd name="T101" fmla="*/ 471 h 676"/>
                  <a:gd name="T102" fmla="*/ 668 w 949"/>
                  <a:gd name="T103" fmla="*/ 538 h 676"/>
                  <a:gd name="T104" fmla="*/ 685 w 949"/>
                  <a:gd name="T105" fmla="*/ 548 h 676"/>
                  <a:gd name="T106" fmla="*/ 792 w 949"/>
                  <a:gd name="T107" fmla="*/ 515 h 676"/>
                  <a:gd name="T108" fmla="*/ 792 w 949"/>
                  <a:gd name="T109" fmla="*/ 47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49" h="676">
                    <a:moveTo>
                      <a:pt x="254" y="470"/>
                    </a:moveTo>
                    <a:cubicBezTo>
                      <a:pt x="292" y="474"/>
                      <a:pt x="321" y="470"/>
                      <a:pt x="329" y="466"/>
                    </a:cubicBezTo>
                    <a:cubicBezTo>
                      <a:pt x="339" y="461"/>
                      <a:pt x="339" y="448"/>
                      <a:pt x="341" y="425"/>
                    </a:cubicBezTo>
                    <a:cubicBezTo>
                      <a:pt x="341" y="425"/>
                      <a:pt x="341" y="425"/>
                      <a:pt x="341" y="423"/>
                    </a:cubicBezTo>
                    <a:cubicBezTo>
                      <a:pt x="342" y="408"/>
                      <a:pt x="340" y="385"/>
                      <a:pt x="339" y="372"/>
                    </a:cubicBezTo>
                    <a:cubicBezTo>
                      <a:pt x="367" y="371"/>
                      <a:pt x="375" y="357"/>
                      <a:pt x="377" y="352"/>
                    </a:cubicBezTo>
                    <a:cubicBezTo>
                      <a:pt x="380" y="341"/>
                      <a:pt x="370" y="330"/>
                      <a:pt x="359" y="319"/>
                    </a:cubicBezTo>
                    <a:cubicBezTo>
                      <a:pt x="358" y="317"/>
                      <a:pt x="357" y="316"/>
                      <a:pt x="356" y="315"/>
                    </a:cubicBezTo>
                    <a:cubicBezTo>
                      <a:pt x="351" y="310"/>
                      <a:pt x="346" y="299"/>
                      <a:pt x="341" y="284"/>
                    </a:cubicBezTo>
                    <a:cubicBezTo>
                      <a:pt x="339" y="282"/>
                      <a:pt x="339" y="276"/>
                      <a:pt x="339" y="270"/>
                    </a:cubicBezTo>
                    <a:cubicBezTo>
                      <a:pt x="338" y="262"/>
                      <a:pt x="337" y="252"/>
                      <a:pt x="335" y="245"/>
                    </a:cubicBezTo>
                    <a:cubicBezTo>
                      <a:pt x="332" y="239"/>
                      <a:pt x="332" y="228"/>
                      <a:pt x="331" y="220"/>
                    </a:cubicBezTo>
                    <a:cubicBezTo>
                      <a:pt x="330" y="203"/>
                      <a:pt x="330" y="203"/>
                      <a:pt x="330" y="203"/>
                    </a:cubicBezTo>
                    <a:cubicBezTo>
                      <a:pt x="335" y="182"/>
                      <a:pt x="363" y="151"/>
                      <a:pt x="353" y="151"/>
                    </a:cubicBezTo>
                    <a:cubicBezTo>
                      <a:pt x="260" y="153"/>
                      <a:pt x="293" y="127"/>
                      <a:pt x="192" y="127"/>
                    </a:cubicBezTo>
                    <a:cubicBezTo>
                      <a:pt x="104" y="127"/>
                      <a:pt x="60" y="180"/>
                      <a:pt x="38" y="225"/>
                    </a:cubicBezTo>
                    <a:cubicBezTo>
                      <a:pt x="0" y="306"/>
                      <a:pt x="62" y="387"/>
                      <a:pt x="93" y="419"/>
                    </a:cubicBezTo>
                    <a:cubicBezTo>
                      <a:pt x="93" y="443"/>
                      <a:pt x="93" y="443"/>
                      <a:pt x="93" y="443"/>
                    </a:cubicBezTo>
                    <a:cubicBezTo>
                      <a:pt x="93" y="443"/>
                      <a:pt x="93" y="443"/>
                      <a:pt x="93" y="473"/>
                    </a:cubicBezTo>
                    <a:cubicBezTo>
                      <a:pt x="93" y="509"/>
                      <a:pt x="93" y="509"/>
                      <a:pt x="93" y="509"/>
                    </a:cubicBezTo>
                    <a:cubicBezTo>
                      <a:pt x="93" y="513"/>
                      <a:pt x="95" y="516"/>
                      <a:pt x="99" y="518"/>
                    </a:cubicBezTo>
                    <a:cubicBezTo>
                      <a:pt x="160" y="543"/>
                      <a:pt x="238" y="543"/>
                      <a:pt x="245" y="543"/>
                    </a:cubicBezTo>
                    <a:cubicBezTo>
                      <a:pt x="245" y="543"/>
                      <a:pt x="245" y="543"/>
                      <a:pt x="245" y="543"/>
                    </a:cubicBezTo>
                    <a:cubicBezTo>
                      <a:pt x="250" y="543"/>
                      <a:pt x="254" y="539"/>
                      <a:pt x="254" y="534"/>
                    </a:cubicBezTo>
                    <a:cubicBezTo>
                      <a:pt x="254" y="534"/>
                      <a:pt x="254" y="534"/>
                      <a:pt x="254" y="470"/>
                    </a:cubicBezTo>
                    <a:close/>
                    <a:moveTo>
                      <a:pt x="263" y="87"/>
                    </a:moveTo>
                    <a:cubicBezTo>
                      <a:pt x="265" y="87"/>
                      <a:pt x="267" y="86"/>
                      <a:pt x="268" y="85"/>
                    </a:cubicBezTo>
                    <a:cubicBezTo>
                      <a:pt x="325" y="41"/>
                      <a:pt x="392" y="18"/>
                      <a:pt x="464" y="18"/>
                    </a:cubicBezTo>
                    <a:cubicBezTo>
                      <a:pt x="527" y="18"/>
                      <a:pt x="586" y="36"/>
                      <a:pt x="638" y="69"/>
                    </a:cubicBezTo>
                    <a:cubicBezTo>
                      <a:pt x="625" y="70"/>
                      <a:pt x="625" y="70"/>
                      <a:pt x="625" y="70"/>
                    </a:cubicBezTo>
                    <a:cubicBezTo>
                      <a:pt x="620" y="70"/>
                      <a:pt x="616" y="74"/>
                      <a:pt x="617" y="79"/>
                    </a:cubicBezTo>
                    <a:cubicBezTo>
                      <a:pt x="617" y="84"/>
                      <a:pt x="621" y="88"/>
                      <a:pt x="626" y="88"/>
                    </a:cubicBezTo>
                    <a:cubicBezTo>
                      <a:pt x="626" y="88"/>
                      <a:pt x="626" y="88"/>
                      <a:pt x="626" y="88"/>
                    </a:cubicBezTo>
                    <a:cubicBezTo>
                      <a:pt x="666" y="87"/>
                      <a:pt x="666" y="87"/>
                      <a:pt x="666" y="87"/>
                    </a:cubicBezTo>
                    <a:cubicBezTo>
                      <a:pt x="666" y="87"/>
                      <a:pt x="666" y="87"/>
                      <a:pt x="666" y="86"/>
                    </a:cubicBezTo>
                    <a:cubicBezTo>
                      <a:pt x="667" y="86"/>
                      <a:pt x="667" y="86"/>
                      <a:pt x="667" y="86"/>
                    </a:cubicBezTo>
                    <a:cubicBezTo>
                      <a:pt x="668" y="86"/>
                      <a:pt x="668" y="86"/>
                      <a:pt x="668" y="86"/>
                    </a:cubicBezTo>
                    <a:cubicBezTo>
                      <a:pt x="668" y="86"/>
                      <a:pt x="668" y="86"/>
                      <a:pt x="668" y="86"/>
                    </a:cubicBezTo>
                    <a:cubicBezTo>
                      <a:pt x="669" y="86"/>
                      <a:pt x="669" y="85"/>
                      <a:pt x="670" y="85"/>
                    </a:cubicBezTo>
                    <a:cubicBezTo>
                      <a:pt x="670" y="85"/>
                      <a:pt x="671" y="85"/>
                      <a:pt x="671" y="84"/>
                    </a:cubicBezTo>
                    <a:cubicBezTo>
                      <a:pt x="672" y="84"/>
                      <a:pt x="672" y="83"/>
                      <a:pt x="672" y="83"/>
                    </a:cubicBezTo>
                    <a:cubicBezTo>
                      <a:pt x="673" y="83"/>
                      <a:pt x="673" y="83"/>
                      <a:pt x="673" y="83"/>
                    </a:cubicBezTo>
                    <a:cubicBezTo>
                      <a:pt x="673" y="82"/>
                      <a:pt x="673" y="82"/>
                      <a:pt x="673" y="81"/>
                    </a:cubicBezTo>
                    <a:cubicBezTo>
                      <a:pt x="674" y="81"/>
                      <a:pt x="674" y="81"/>
                      <a:pt x="674" y="81"/>
                    </a:cubicBezTo>
                    <a:cubicBezTo>
                      <a:pt x="674" y="81"/>
                      <a:pt x="674" y="80"/>
                      <a:pt x="674" y="80"/>
                    </a:cubicBezTo>
                    <a:cubicBezTo>
                      <a:pt x="674" y="79"/>
                      <a:pt x="675" y="79"/>
                      <a:pt x="675" y="78"/>
                    </a:cubicBezTo>
                    <a:cubicBezTo>
                      <a:pt x="675" y="76"/>
                      <a:pt x="675" y="76"/>
                      <a:pt x="675" y="76"/>
                    </a:cubicBezTo>
                    <a:cubicBezTo>
                      <a:pt x="675" y="76"/>
                      <a:pt x="675" y="76"/>
                      <a:pt x="675" y="76"/>
                    </a:cubicBezTo>
                    <a:cubicBezTo>
                      <a:pt x="674" y="76"/>
                      <a:pt x="674" y="75"/>
                      <a:pt x="674" y="75"/>
                    </a:cubicBezTo>
                    <a:cubicBezTo>
                      <a:pt x="661" y="37"/>
                      <a:pt x="661" y="37"/>
                      <a:pt x="661" y="37"/>
                    </a:cubicBezTo>
                    <a:cubicBezTo>
                      <a:pt x="660" y="32"/>
                      <a:pt x="655" y="30"/>
                      <a:pt x="650" y="32"/>
                    </a:cubicBezTo>
                    <a:cubicBezTo>
                      <a:pt x="645" y="33"/>
                      <a:pt x="642" y="38"/>
                      <a:pt x="644" y="43"/>
                    </a:cubicBezTo>
                    <a:cubicBezTo>
                      <a:pt x="647" y="54"/>
                      <a:pt x="647" y="54"/>
                      <a:pt x="647" y="54"/>
                    </a:cubicBezTo>
                    <a:cubicBezTo>
                      <a:pt x="593" y="18"/>
                      <a:pt x="530" y="0"/>
                      <a:pt x="464" y="0"/>
                    </a:cubicBezTo>
                    <a:cubicBezTo>
                      <a:pt x="388" y="0"/>
                      <a:pt x="317" y="24"/>
                      <a:pt x="257" y="70"/>
                    </a:cubicBezTo>
                    <a:cubicBezTo>
                      <a:pt x="253" y="73"/>
                      <a:pt x="252" y="79"/>
                      <a:pt x="255" y="83"/>
                    </a:cubicBezTo>
                    <a:cubicBezTo>
                      <a:pt x="257" y="85"/>
                      <a:pt x="260" y="87"/>
                      <a:pt x="263" y="87"/>
                    </a:cubicBezTo>
                    <a:close/>
                    <a:moveTo>
                      <a:pt x="660" y="591"/>
                    </a:moveTo>
                    <a:cubicBezTo>
                      <a:pt x="603" y="635"/>
                      <a:pt x="536" y="658"/>
                      <a:pt x="464" y="658"/>
                    </a:cubicBezTo>
                    <a:cubicBezTo>
                      <a:pt x="401" y="658"/>
                      <a:pt x="342" y="640"/>
                      <a:pt x="290" y="607"/>
                    </a:cubicBezTo>
                    <a:cubicBezTo>
                      <a:pt x="303" y="606"/>
                      <a:pt x="303" y="606"/>
                      <a:pt x="303" y="606"/>
                    </a:cubicBezTo>
                    <a:cubicBezTo>
                      <a:pt x="308" y="606"/>
                      <a:pt x="312" y="602"/>
                      <a:pt x="311" y="597"/>
                    </a:cubicBezTo>
                    <a:cubicBezTo>
                      <a:pt x="311" y="592"/>
                      <a:pt x="307" y="587"/>
                      <a:pt x="302" y="588"/>
                    </a:cubicBezTo>
                    <a:cubicBezTo>
                      <a:pt x="262" y="589"/>
                      <a:pt x="262" y="589"/>
                      <a:pt x="262" y="589"/>
                    </a:cubicBezTo>
                    <a:cubicBezTo>
                      <a:pt x="262" y="589"/>
                      <a:pt x="262" y="589"/>
                      <a:pt x="262" y="590"/>
                    </a:cubicBezTo>
                    <a:cubicBezTo>
                      <a:pt x="261" y="590"/>
                      <a:pt x="261" y="590"/>
                      <a:pt x="261" y="590"/>
                    </a:cubicBezTo>
                    <a:cubicBezTo>
                      <a:pt x="260" y="590"/>
                      <a:pt x="260" y="590"/>
                      <a:pt x="260" y="590"/>
                    </a:cubicBezTo>
                    <a:cubicBezTo>
                      <a:pt x="260" y="590"/>
                      <a:pt x="260" y="590"/>
                      <a:pt x="260" y="590"/>
                    </a:cubicBezTo>
                    <a:cubicBezTo>
                      <a:pt x="259" y="590"/>
                      <a:pt x="259" y="590"/>
                      <a:pt x="258" y="590"/>
                    </a:cubicBezTo>
                    <a:cubicBezTo>
                      <a:pt x="258" y="591"/>
                      <a:pt x="257" y="591"/>
                      <a:pt x="257" y="592"/>
                    </a:cubicBezTo>
                    <a:cubicBezTo>
                      <a:pt x="256" y="592"/>
                      <a:pt x="256" y="592"/>
                      <a:pt x="256" y="593"/>
                    </a:cubicBezTo>
                    <a:cubicBezTo>
                      <a:pt x="255" y="593"/>
                      <a:pt x="255" y="593"/>
                      <a:pt x="255" y="593"/>
                    </a:cubicBezTo>
                    <a:cubicBezTo>
                      <a:pt x="255" y="594"/>
                      <a:pt x="255" y="594"/>
                      <a:pt x="254" y="595"/>
                    </a:cubicBezTo>
                    <a:cubicBezTo>
                      <a:pt x="254" y="595"/>
                      <a:pt x="254" y="595"/>
                      <a:pt x="254" y="596"/>
                    </a:cubicBezTo>
                    <a:cubicBezTo>
                      <a:pt x="254" y="597"/>
                      <a:pt x="253" y="597"/>
                      <a:pt x="253" y="598"/>
                    </a:cubicBezTo>
                    <a:cubicBezTo>
                      <a:pt x="253" y="600"/>
                      <a:pt x="253" y="600"/>
                      <a:pt x="253" y="600"/>
                    </a:cubicBezTo>
                    <a:cubicBezTo>
                      <a:pt x="253" y="600"/>
                      <a:pt x="253" y="600"/>
                      <a:pt x="253" y="600"/>
                    </a:cubicBezTo>
                    <a:cubicBezTo>
                      <a:pt x="254" y="600"/>
                      <a:pt x="254" y="601"/>
                      <a:pt x="254" y="601"/>
                    </a:cubicBezTo>
                    <a:cubicBezTo>
                      <a:pt x="267" y="639"/>
                      <a:pt x="267" y="639"/>
                      <a:pt x="267" y="639"/>
                    </a:cubicBezTo>
                    <a:cubicBezTo>
                      <a:pt x="268" y="643"/>
                      <a:pt x="271" y="645"/>
                      <a:pt x="276" y="645"/>
                    </a:cubicBezTo>
                    <a:cubicBezTo>
                      <a:pt x="276" y="645"/>
                      <a:pt x="277" y="645"/>
                      <a:pt x="278" y="644"/>
                    </a:cubicBezTo>
                    <a:cubicBezTo>
                      <a:pt x="283" y="643"/>
                      <a:pt x="286" y="638"/>
                      <a:pt x="284" y="633"/>
                    </a:cubicBezTo>
                    <a:cubicBezTo>
                      <a:pt x="281" y="622"/>
                      <a:pt x="281" y="622"/>
                      <a:pt x="281" y="622"/>
                    </a:cubicBezTo>
                    <a:cubicBezTo>
                      <a:pt x="335" y="658"/>
                      <a:pt x="398" y="676"/>
                      <a:pt x="464" y="676"/>
                    </a:cubicBezTo>
                    <a:cubicBezTo>
                      <a:pt x="540" y="676"/>
                      <a:pt x="611" y="652"/>
                      <a:pt x="671" y="606"/>
                    </a:cubicBezTo>
                    <a:cubicBezTo>
                      <a:pt x="675" y="602"/>
                      <a:pt x="676" y="597"/>
                      <a:pt x="673" y="593"/>
                    </a:cubicBezTo>
                    <a:cubicBezTo>
                      <a:pt x="670" y="589"/>
                      <a:pt x="664" y="588"/>
                      <a:pt x="660" y="591"/>
                    </a:cubicBezTo>
                    <a:close/>
                    <a:moveTo>
                      <a:pt x="876" y="228"/>
                    </a:moveTo>
                    <a:cubicBezTo>
                      <a:pt x="855" y="183"/>
                      <a:pt x="803" y="136"/>
                      <a:pt x="717" y="136"/>
                    </a:cubicBezTo>
                    <a:cubicBezTo>
                      <a:pt x="620" y="136"/>
                      <a:pt x="579" y="181"/>
                      <a:pt x="583" y="202"/>
                    </a:cubicBezTo>
                    <a:cubicBezTo>
                      <a:pt x="584" y="203"/>
                      <a:pt x="585" y="205"/>
                      <a:pt x="586" y="206"/>
                    </a:cubicBezTo>
                    <a:cubicBezTo>
                      <a:pt x="586" y="206"/>
                      <a:pt x="586" y="206"/>
                      <a:pt x="586" y="206"/>
                    </a:cubicBezTo>
                    <a:cubicBezTo>
                      <a:pt x="582" y="232"/>
                      <a:pt x="582" y="232"/>
                      <a:pt x="582" y="232"/>
                    </a:cubicBezTo>
                    <a:cubicBezTo>
                      <a:pt x="580" y="240"/>
                      <a:pt x="578" y="251"/>
                      <a:pt x="578" y="258"/>
                    </a:cubicBezTo>
                    <a:cubicBezTo>
                      <a:pt x="577" y="262"/>
                      <a:pt x="577" y="268"/>
                      <a:pt x="577" y="275"/>
                    </a:cubicBezTo>
                    <a:cubicBezTo>
                      <a:pt x="577" y="283"/>
                      <a:pt x="576" y="297"/>
                      <a:pt x="575" y="300"/>
                    </a:cubicBezTo>
                    <a:cubicBezTo>
                      <a:pt x="571" y="308"/>
                      <a:pt x="565" y="320"/>
                      <a:pt x="558" y="327"/>
                    </a:cubicBezTo>
                    <a:cubicBezTo>
                      <a:pt x="550" y="335"/>
                      <a:pt x="538" y="351"/>
                      <a:pt x="542" y="362"/>
                    </a:cubicBezTo>
                    <a:cubicBezTo>
                      <a:pt x="545" y="368"/>
                      <a:pt x="556" y="380"/>
                      <a:pt x="580" y="380"/>
                    </a:cubicBezTo>
                    <a:cubicBezTo>
                      <a:pt x="580" y="388"/>
                      <a:pt x="579" y="397"/>
                      <a:pt x="579" y="408"/>
                    </a:cubicBezTo>
                    <a:cubicBezTo>
                      <a:pt x="579" y="446"/>
                      <a:pt x="584" y="456"/>
                      <a:pt x="588" y="461"/>
                    </a:cubicBezTo>
                    <a:cubicBezTo>
                      <a:pt x="593" y="466"/>
                      <a:pt x="603" y="471"/>
                      <a:pt x="639" y="471"/>
                    </a:cubicBezTo>
                    <a:cubicBezTo>
                      <a:pt x="645" y="471"/>
                      <a:pt x="658" y="470"/>
                      <a:pt x="668" y="469"/>
                    </a:cubicBezTo>
                    <a:cubicBezTo>
                      <a:pt x="668" y="538"/>
                      <a:pt x="668" y="538"/>
                      <a:pt x="668" y="538"/>
                    </a:cubicBezTo>
                    <a:cubicBezTo>
                      <a:pt x="668" y="543"/>
                      <a:pt x="671" y="547"/>
                      <a:pt x="676" y="547"/>
                    </a:cubicBezTo>
                    <a:cubicBezTo>
                      <a:pt x="676" y="547"/>
                      <a:pt x="680" y="548"/>
                      <a:pt x="685" y="548"/>
                    </a:cubicBezTo>
                    <a:cubicBezTo>
                      <a:pt x="705" y="548"/>
                      <a:pt x="751" y="545"/>
                      <a:pt x="788" y="523"/>
                    </a:cubicBezTo>
                    <a:cubicBezTo>
                      <a:pt x="790" y="521"/>
                      <a:pt x="792" y="518"/>
                      <a:pt x="792" y="515"/>
                    </a:cubicBezTo>
                    <a:cubicBezTo>
                      <a:pt x="792" y="490"/>
                      <a:pt x="792" y="490"/>
                      <a:pt x="792" y="490"/>
                    </a:cubicBezTo>
                    <a:cubicBezTo>
                      <a:pt x="792" y="472"/>
                      <a:pt x="792" y="472"/>
                      <a:pt x="792" y="472"/>
                    </a:cubicBezTo>
                    <a:cubicBezTo>
                      <a:pt x="851" y="449"/>
                      <a:pt x="949" y="379"/>
                      <a:pt x="876" y="2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0" name="Group 69">
            <a:extLst>
              <a:ext uri="{FF2B5EF4-FFF2-40B4-BE49-F238E27FC236}">
                <a16:creationId xmlns:a16="http://schemas.microsoft.com/office/drawing/2014/main" id="{B731FBC0-7755-43C5-8441-9B9E16424C07}"/>
              </a:ext>
            </a:extLst>
          </p:cNvPr>
          <p:cNvGrpSpPr/>
          <p:nvPr/>
        </p:nvGrpSpPr>
        <p:grpSpPr>
          <a:xfrm>
            <a:off x="9903355" y="2307284"/>
            <a:ext cx="1417584" cy="1417584"/>
            <a:chOff x="12431725" y="2974076"/>
            <a:chExt cx="1417584" cy="1417584"/>
          </a:xfrm>
        </p:grpSpPr>
        <p:sp>
          <p:nvSpPr>
            <p:cNvPr id="69" name="Oval 68">
              <a:extLst>
                <a:ext uri="{FF2B5EF4-FFF2-40B4-BE49-F238E27FC236}">
                  <a16:creationId xmlns:a16="http://schemas.microsoft.com/office/drawing/2014/main" id="{D849DD62-37C4-4BA2-9DB2-B3F3D7CC3201}"/>
                </a:ext>
              </a:extLst>
            </p:cNvPr>
            <p:cNvSpPr/>
            <p:nvPr/>
          </p:nvSpPr>
          <p:spPr>
            <a:xfrm>
              <a:off x="12431725" y="2974076"/>
              <a:ext cx="1417584" cy="1417584"/>
            </a:xfrm>
            <a:prstGeom prst="ellipse">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roup 65">
              <a:extLst>
                <a:ext uri="{FF2B5EF4-FFF2-40B4-BE49-F238E27FC236}">
                  <a16:creationId xmlns:a16="http://schemas.microsoft.com/office/drawing/2014/main" id="{1250AB05-E1DC-4595-A2B8-A72921B35686}"/>
                </a:ext>
              </a:extLst>
            </p:cNvPr>
            <p:cNvGrpSpPr>
              <a:grpSpLocks noChangeAspect="1"/>
            </p:cNvGrpSpPr>
            <p:nvPr/>
          </p:nvGrpSpPr>
          <p:grpSpPr>
            <a:xfrm>
              <a:off x="12608662" y="3151014"/>
              <a:ext cx="1063708" cy="1063708"/>
              <a:chOff x="7324949" y="3200401"/>
              <a:chExt cx="457200" cy="457200"/>
            </a:xfrm>
          </p:grpSpPr>
          <p:sp>
            <p:nvSpPr>
              <p:cNvPr id="67" name="AutoShape 6">
                <a:extLst>
                  <a:ext uri="{FF2B5EF4-FFF2-40B4-BE49-F238E27FC236}">
                    <a16:creationId xmlns:a16="http://schemas.microsoft.com/office/drawing/2014/main" id="{BCDB83B9-C150-4DB2-BEE6-99293FB832A4}"/>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8">
                <a:extLst>
                  <a:ext uri="{FF2B5EF4-FFF2-40B4-BE49-F238E27FC236}">
                    <a16:creationId xmlns:a16="http://schemas.microsoft.com/office/drawing/2014/main" id="{E199AA0E-0334-4F93-9AE7-711475F3A68E}"/>
                  </a:ext>
                </a:extLst>
              </p:cNvPr>
              <p:cNvSpPr>
                <a:spLocks noEditPoints="1"/>
              </p:cNvSpPr>
              <p:nvPr/>
            </p:nvSpPr>
            <p:spPr bwMode="auto">
              <a:xfrm>
                <a:off x="7336494" y="3227918"/>
                <a:ext cx="434686" cy="402744"/>
              </a:xfrm>
              <a:custGeom>
                <a:avLst/>
                <a:gdLst>
                  <a:gd name="T0" fmla="*/ 438 w 950"/>
                  <a:gd name="T1" fmla="*/ 880 h 880"/>
                  <a:gd name="T2" fmla="*/ 3 w 950"/>
                  <a:gd name="T3" fmla="*/ 864 h 880"/>
                  <a:gd name="T4" fmla="*/ 321 w 950"/>
                  <a:gd name="T5" fmla="*/ 664 h 880"/>
                  <a:gd name="T6" fmla="*/ 348 w 950"/>
                  <a:gd name="T7" fmla="*/ 741 h 880"/>
                  <a:gd name="T8" fmla="*/ 833 w 950"/>
                  <a:gd name="T9" fmla="*/ 698 h 880"/>
                  <a:gd name="T10" fmla="*/ 698 w 950"/>
                  <a:gd name="T11" fmla="*/ 741 h 880"/>
                  <a:gd name="T12" fmla="*/ 512 w 950"/>
                  <a:gd name="T13" fmla="*/ 880 h 880"/>
                  <a:gd name="T14" fmla="*/ 947 w 950"/>
                  <a:gd name="T15" fmla="*/ 864 h 880"/>
                  <a:gd name="T16" fmla="*/ 336 w 950"/>
                  <a:gd name="T17" fmla="*/ 594 h 880"/>
                  <a:gd name="T18" fmla="*/ 359 w 950"/>
                  <a:gd name="T19" fmla="*/ 665 h 880"/>
                  <a:gd name="T20" fmla="*/ 475 w 950"/>
                  <a:gd name="T21" fmla="*/ 664 h 880"/>
                  <a:gd name="T22" fmla="*/ 591 w 950"/>
                  <a:gd name="T23" fmla="*/ 665 h 880"/>
                  <a:gd name="T24" fmla="*/ 614 w 950"/>
                  <a:gd name="T25" fmla="*/ 594 h 880"/>
                  <a:gd name="T26" fmla="*/ 726 w 950"/>
                  <a:gd name="T27" fmla="*/ 379 h 880"/>
                  <a:gd name="T28" fmla="*/ 699 w 950"/>
                  <a:gd name="T29" fmla="*/ 390 h 880"/>
                  <a:gd name="T30" fmla="*/ 670 w 950"/>
                  <a:gd name="T31" fmla="*/ 424 h 880"/>
                  <a:gd name="T32" fmla="*/ 475 w 950"/>
                  <a:gd name="T33" fmla="*/ 641 h 880"/>
                  <a:gd name="T34" fmla="*/ 280 w 950"/>
                  <a:gd name="T35" fmla="*/ 424 h 880"/>
                  <a:gd name="T36" fmla="*/ 251 w 950"/>
                  <a:gd name="T37" fmla="*/ 390 h 880"/>
                  <a:gd name="T38" fmla="*/ 224 w 950"/>
                  <a:gd name="T39" fmla="*/ 380 h 880"/>
                  <a:gd name="T40" fmla="*/ 684 w 950"/>
                  <a:gd name="T41" fmla="*/ 515 h 880"/>
                  <a:gd name="T42" fmla="*/ 640 w 950"/>
                  <a:gd name="T43" fmla="*/ 641 h 880"/>
                  <a:gd name="T44" fmla="*/ 761 w 950"/>
                  <a:gd name="T45" fmla="*/ 604 h 880"/>
                  <a:gd name="T46" fmla="*/ 684 w 950"/>
                  <a:gd name="T47" fmla="*/ 515 h 880"/>
                  <a:gd name="T48" fmla="*/ 341 w 950"/>
                  <a:gd name="T49" fmla="*/ 202 h 880"/>
                  <a:gd name="T50" fmla="*/ 671 w 950"/>
                  <a:gd name="T51" fmla="*/ 375 h 880"/>
                  <a:gd name="T52" fmla="*/ 688 w 950"/>
                  <a:gd name="T53" fmla="*/ 376 h 880"/>
                  <a:gd name="T54" fmla="*/ 718 w 950"/>
                  <a:gd name="T55" fmla="*/ 337 h 880"/>
                  <a:gd name="T56" fmla="*/ 727 w 950"/>
                  <a:gd name="T57" fmla="*/ 252 h 880"/>
                  <a:gd name="T58" fmla="*/ 230 w 950"/>
                  <a:gd name="T59" fmla="*/ 252 h 880"/>
                  <a:gd name="T60" fmla="*/ 244 w 950"/>
                  <a:gd name="T61" fmla="*/ 355 h 880"/>
                  <a:gd name="T62" fmla="*/ 317 w 950"/>
                  <a:gd name="T63" fmla="*/ 601 h 880"/>
                  <a:gd name="T64" fmla="*/ 255 w 950"/>
                  <a:gd name="T65" fmla="*/ 474 h 880"/>
                  <a:gd name="T66" fmla="*/ 259 w 950"/>
                  <a:gd name="T67" fmla="*/ 644 h 880"/>
                  <a:gd name="T68" fmla="*/ 482 w 950"/>
                  <a:gd name="T69" fmla="*/ 786 h 880"/>
                  <a:gd name="T70" fmla="*/ 395 w 950"/>
                  <a:gd name="T71" fmla="*/ 721 h 880"/>
                  <a:gd name="T72" fmla="*/ 478 w 950"/>
                  <a:gd name="T73" fmla="*/ 880 h 880"/>
                  <a:gd name="T74" fmla="*/ 562 w 950"/>
                  <a:gd name="T75" fmla="*/ 72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0" h="880">
                    <a:moveTo>
                      <a:pt x="348" y="741"/>
                    </a:moveTo>
                    <a:cubicBezTo>
                      <a:pt x="348" y="741"/>
                      <a:pt x="348" y="741"/>
                      <a:pt x="438" y="880"/>
                    </a:cubicBezTo>
                    <a:cubicBezTo>
                      <a:pt x="14" y="880"/>
                      <a:pt x="14" y="880"/>
                      <a:pt x="14" y="880"/>
                    </a:cubicBezTo>
                    <a:cubicBezTo>
                      <a:pt x="5" y="880"/>
                      <a:pt x="0" y="872"/>
                      <a:pt x="3" y="864"/>
                    </a:cubicBezTo>
                    <a:cubicBezTo>
                      <a:pt x="17" y="826"/>
                      <a:pt x="60" y="725"/>
                      <a:pt x="117" y="698"/>
                    </a:cubicBezTo>
                    <a:cubicBezTo>
                      <a:pt x="189" y="665"/>
                      <a:pt x="321" y="664"/>
                      <a:pt x="321" y="664"/>
                    </a:cubicBezTo>
                    <a:cubicBezTo>
                      <a:pt x="321" y="664"/>
                      <a:pt x="321" y="664"/>
                      <a:pt x="252" y="741"/>
                    </a:cubicBezTo>
                    <a:cubicBezTo>
                      <a:pt x="252" y="741"/>
                      <a:pt x="252" y="741"/>
                      <a:pt x="348" y="741"/>
                    </a:cubicBezTo>
                    <a:close/>
                    <a:moveTo>
                      <a:pt x="947" y="864"/>
                    </a:moveTo>
                    <a:cubicBezTo>
                      <a:pt x="933" y="826"/>
                      <a:pt x="890" y="725"/>
                      <a:pt x="833" y="698"/>
                    </a:cubicBezTo>
                    <a:cubicBezTo>
                      <a:pt x="761" y="665"/>
                      <a:pt x="629" y="664"/>
                      <a:pt x="629" y="664"/>
                    </a:cubicBezTo>
                    <a:cubicBezTo>
                      <a:pt x="698" y="741"/>
                      <a:pt x="698" y="741"/>
                      <a:pt x="698" y="741"/>
                    </a:cubicBezTo>
                    <a:cubicBezTo>
                      <a:pt x="602" y="741"/>
                      <a:pt x="602" y="741"/>
                      <a:pt x="602" y="741"/>
                    </a:cubicBezTo>
                    <a:cubicBezTo>
                      <a:pt x="512" y="880"/>
                      <a:pt x="512" y="880"/>
                      <a:pt x="512" y="880"/>
                    </a:cubicBezTo>
                    <a:cubicBezTo>
                      <a:pt x="936" y="880"/>
                      <a:pt x="936" y="880"/>
                      <a:pt x="936" y="880"/>
                    </a:cubicBezTo>
                    <a:cubicBezTo>
                      <a:pt x="945" y="880"/>
                      <a:pt x="950" y="872"/>
                      <a:pt x="947" y="864"/>
                    </a:cubicBezTo>
                    <a:close/>
                    <a:moveTo>
                      <a:pt x="260" y="436"/>
                    </a:moveTo>
                    <a:cubicBezTo>
                      <a:pt x="272" y="465"/>
                      <a:pt x="312" y="565"/>
                      <a:pt x="336" y="594"/>
                    </a:cubicBezTo>
                    <a:cubicBezTo>
                      <a:pt x="336" y="594"/>
                      <a:pt x="336" y="594"/>
                      <a:pt x="336" y="646"/>
                    </a:cubicBezTo>
                    <a:cubicBezTo>
                      <a:pt x="338" y="647"/>
                      <a:pt x="347" y="654"/>
                      <a:pt x="359" y="665"/>
                    </a:cubicBezTo>
                    <a:cubicBezTo>
                      <a:pt x="359" y="665"/>
                      <a:pt x="359" y="665"/>
                      <a:pt x="359" y="613"/>
                    </a:cubicBezTo>
                    <a:cubicBezTo>
                      <a:pt x="390" y="636"/>
                      <a:pt x="441" y="664"/>
                      <a:pt x="475" y="664"/>
                    </a:cubicBezTo>
                    <a:cubicBezTo>
                      <a:pt x="509" y="664"/>
                      <a:pt x="560" y="636"/>
                      <a:pt x="591" y="613"/>
                    </a:cubicBezTo>
                    <a:cubicBezTo>
                      <a:pt x="591" y="613"/>
                      <a:pt x="591" y="613"/>
                      <a:pt x="591" y="665"/>
                    </a:cubicBezTo>
                    <a:cubicBezTo>
                      <a:pt x="604" y="654"/>
                      <a:pt x="612" y="647"/>
                      <a:pt x="614" y="646"/>
                    </a:cubicBezTo>
                    <a:cubicBezTo>
                      <a:pt x="614" y="646"/>
                      <a:pt x="614" y="646"/>
                      <a:pt x="614" y="594"/>
                    </a:cubicBezTo>
                    <a:cubicBezTo>
                      <a:pt x="638" y="564"/>
                      <a:pt x="678" y="465"/>
                      <a:pt x="690" y="436"/>
                    </a:cubicBezTo>
                    <a:cubicBezTo>
                      <a:pt x="717" y="420"/>
                      <a:pt x="724" y="391"/>
                      <a:pt x="726" y="379"/>
                    </a:cubicBezTo>
                    <a:cubicBezTo>
                      <a:pt x="726" y="378"/>
                      <a:pt x="726" y="378"/>
                      <a:pt x="726" y="377"/>
                    </a:cubicBezTo>
                    <a:cubicBezTo>
                      <a:pt x="699" y="390"/>
                      <a:pt x="699" y="390"/>
                      <a:pt x="699" y="390"/>
                    </a:cubicBezTo>
                    <a:cubicBezTo>
                      <a:pt x="695" y="400"/>
                      <a:pt x="688" y="411"/>
                      <a:pt x="675" y="417"/>
                    </a:cubicBezTo>
                    <a:cubicBezTo>
                      <a:pt x="672" y="419"/>
                      <a:pt x="670" y="421"/>
                      <a:pt x="670" y="424"/>
                    </a:cubicBezTo>
                    <a:cubicBezTo>
                      <a:pt x="648" y="478"/>
                      <a:pt x="609" y="568"/>
                      <a:pt x="594" y="582"/>
                    </a:cubicBezTo>
                    <a:cubicBezTo>
                      <a:pt x="570" y="602"/>
                      <a:pt x="509" y="641"/>
                      <a:pt x="475" y="641"/>
                    </a:cubicBezTo>
                    <a:cubicBezTo>
                      <a:pt x="441" y="641"/>
                      <a:pt x="380" y="602"/>
                      <a:pt x="356" y="582"/>
                    </a:cubicBezTo>
                    <a:cubicBezTo>
                      <a:pt x="341" y="568"/>
                      <a:pt x="302" y="478"/>
                      <a:pt x="280" y="424"/>
                    </a:cubicBezTo>
                    <a:cubicBezTo>
                      <a:pt x="280" y="421"/>
                      <a:pt x="278" y="419"/>
                      <a:pt x="275" y="417"/>
                    </a:cubicBezTo>
                    <a:cubicBezTo>
                      <a:pt x="262" y="411"/>
                      <a:pt x="255" y="400"/>
                      <a:pt x="251" y="390"/>
                    </a:cubicBezTo>
                    <a:cubicBezTo>
                      <a:pt x="251" y="390"/>
                      <a:pt x="251" y="390"/>
                      <a:pt x="224" y="377"/>
                    </a:cubicBezTo>
                    <a:cubicBezTo>
                      <a:pt x="224" y="378"/>
                      <a:pt x="224" y="379"/>
                      <a:pt x="224" y="380"/>
                    </a:cubicBezTo>
                    <a:cubicBezTo>
                      <a:pt x="227" y="394"/>
                      <a:pt x="235" y="421"/>
                      <a:pt x="260" y="436"/>
                    </a:cubicBezTo>
                    <a:close/>
                    <a:moveTo>
                      <a:pt x="684" y="515"/>
                    </a:moveTo>
                    <a:cubicBezTo>
                      <a:pt x="663" y="563"/>
                      <a:pt x="649" y="588"/>
                      <a:pt x="640" y="601"/>
                    </a:cubicBezTo>
                    <a:cubicBezTo>
                      <a:pt x="640" y="641"/>
                      <a:pt x="640" y="641"/>
                      <a:pt x="640" y="641"/>
                    </a:cubicBezTo>
                    <a:cubicBezTo>
                      <a:pt x="651" y="641"/>
                      <a:pt x="672" y="642"/>
                      <a:pt x="698" y="644"/>
                    </a:cubicBezTo>
                    <a:cubicBezTo>
                      <a:pt x="717" y="638"/>
                      <a:pt x="739" y="626"/>
                      <a:pt x="761" y="604"/>
                    </a:cubicBezTo>
                    <a:cubicBezTo>
                      <a:pt x="708" y="598"/>
                      <a:pt x="703" y="522"/>
                      <a:pt x="701" y="475"/>
                    </a:cubicBezTo>
                    <a:cubicBezTo>
                      <a:pt x="696" y="487"/>
                      <a:pt x="690" y="501"/>
                      <a:pt x="684" y="515"/>
                    </a:cubicBezTo>
                    <a:close/>
                    <a:moveTo>
                      <a:pt x="244" y="355"/>
                    </a:moveTo>
                    <a:cubicBezTo>
                      <a:pt x="268" y="377"/>
                      <a:pt x="268" y="226"/>
                      <a:pt x="341" y="202"/>
                    </a:cubicBezTo>
                    <a:cubicBezTo>
                      <a:pt x="342" y="202"/>
                      <a:pt x="343" y="202"/>
                      <a:pt x="344" y="203"/>
                    </a:cubicBezTo>
                    <a:cubicBezTo>
                      <a:pt x="344" y="203"/>
                      <a:pt x="344" y="203"/>
                      <a:pt x="671" y="375"/>
                    </a:cubicBezTo>
                    <a:cubicBezTo>
                      <a:pt x="671" y="376"/>
                      <a:pt x="672" y="376"/>
                      <a:pt x="672" y="376"/>
                    </a:cubicBezTo>
                    <a:cubicBezTo>
                      <a:pt x="672" y="376"/>
                      <a:pt x="672" y="376"/>
                      <a:pt x="688" y="376"/>
                    </a:cubicBezTo>
                    <a:cubicBezTo>
                      <a:pt x="689" y="376"/>
                      <a:pt x="690" y="375"/>
                      <a:pt x="691" y="375"/>
                    </a:cubicBezTo>
                    <a:cubicBezTo>
                      <a:pt x="713" y="349"/>
                      <a:pt x="717" y="337"/>
                      <a:pt x="718" y="337"/>
                    </a:cubicBezTo>
                    <a:cubicBezTo>
                      <a:pt x="718" y="337"/>
                      <a:pt x="718" y="337"/>
                      <a:pt x="718" y="337"/>
                    </a:cubicBezTo>
                    <a:cubicBezTo>
                      <a:pt x="727" y="310"/>
                      <a:pt x="727" y="282"/>
                      <a:pt x="727" y="252"/>
                    </a:cubicBezTo>
                    <a:cubicBezTo>
                      <a:pt x="727" y="113"/>
                      <a:pt x="619" y="0"/>
                      <a:pt x="478" y="0"/>
                    </a:cubicBezTo>
                    <a:cubicBezTo>
                      <a:pt x="338" y="0"/>
                      <a:pt x="230" y="113"/>
                      <a:pt x="230" y="252"/>
                    </a:cubicBezTo>
                    <a:cubicBezTo>
                      <a:pt x="230" y="283"/>
                      <a:pt x="234" y="327"/>
                      <a:pt x="244" y="354"/>
                    </a:cubicBezTo>
                    <a:cubicBezTo>
                      <a:pt x="244" y="355"/>
                      <a:pt x="244" y="355"/>
                      <a:pt x="244" y="355"/>
                    </a:cubicBezTo>
                    <a:close/>
                    <a:moveTo>
                      <a:pt x="317" y="641"/>
                    </a:moveTo>
                    <a:cubicBezTo>
                      <a:pt x="317" y="601"/>
                      <a:pt x="317" y="601"/>
                      <a:pt x="317" y="601"/>
                    </a:cubicBezTo>
                    <a:cubicBezTo>
                      <a:pt x="308" y="588"/>
                      <a:pt x="294" y="563"/>
                      <a:pt x="273" y="515"/>
                    </a:cubicBezTo>
                    <a:cubicBezTo>
                      <a:pt x="267" y="500"/>
                      <a:pt x="261" y="486"/>
                      <a:pt x="255" y="474"/>
                    </a:cubicBezTo>
                    <a:cubicBezTo>
                      <a:pt x="253" y="521"/>
                      <a:pt x="250" y="598"/>
                      <a:pt x="196" y="604"/>
                    </a:cubicBezTo>
                    <a:cubicBezTo>
                      <a:pt x="218" y="626"/>
                      <a:pt x="240" y="638"/>
                      <a:pt x="259" y="644"/>
                    </a:cubicBezTo>
                    <a:cubicBezTo>
                      <a:pt x="285" y="642"/>
                      <a:pt x="306" y="641"/>
                      <a:pt x="317" y="641"/>
                    </a:cubicBezTo>
                    <a:close/>
                    <a:moveTo>
                      <a:pt x="482" y="786"/>
                    </a:moveTo>
                    <a:cubicBezTo>
                      <a:pt x="480" y="787"/>
                      <a:pt x="477" y="787"/>
                      <a:pt x="475" y="786"/>
                    </a:cubicBezTo>
                    <a:cubicBezTo>
                      <a:pt x="454" y="770"/>
                      <a:pt x="423" y="744"/>
                      <a:pt x="395" y="721"/>
                    </a:cubicBezTo>
                    <a:cubicBezTo>
                      <a:pt x="463" y="880"/>
                      <a:pt x="463" y="880"/>
                      <a:pt x="463" y="880"/>
                    </a:cubicBezTo>
                    <a:cubicBezTo>
                      <a:pt x="478" y="880"/>
                      <a:pt x="478" y="880"/>
                      <a:pt x="478" y="880"/>
                    </a:cubicBezTo>
                    <a:cubicBezTo>
                      <a:pt x="494" y="880"/>
                      <a:pt x="494" y="880"/>
                      <a:pt x="494" y="880"/>
                    </a:cubicBezTo>
                    <a:cubicBezTo>
                      <a:pt x="562" y="721"/>
                      <a:pt x="562" y="721"/>
                      <a:pt x="562" y="721"/>
                    </a:cubicBezTo>
                    <a:cubicBezTo>
                      <a:pt x="537" y="742"/>
                      <a:pt x="508" y="765"/>
                      <a:pt x="482" y="7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8" name="Group 107">
            <a:extLst>
              <a:ext uri="{FF2B5EF4-FFF2-40B4-BE49-F238E27FC236}">
                <a16:creationId xmlns:a16="http://schemas.microsoft.com/office/drawing/2014/main" id="{2B3BC691-9261-4015-94F9-C0CB7201D1C2}"/>
              </a:ext>
            </a:extLst>
          </p:cNvPr>
          <p:cNvGrpSpPr/>
          <p:nvPr/>
        </p:nvGrpSpPr>
        <p:grpSpPr>
          <a:xfrm>
            <a:off x="6332479" y="2307284"/>
            <a:ext cx="1417584" cy="1417584"/>
            <a:chOff x="12801596" y="0"/>
            <a:chExt cx="1417584" cy="1417584"/>
          </a:xfrm>
        </p:grpSpPr>
        <p:sp>
          <p:nvSpPr>
            <p:cNvPr id="81" name="Oval 80">
              <a:extLst>
                <a:ext uri="{FF2B5EF4-FFF2-40B4-BE49-F238E27FC236}">
                  <a16:creationId xmlns:a16="http://schemas.microsoft.com/office/drawing/2014/main" id="{4B05DE66-76E9-455E-A6C6-74B06C682522}"/>
                </a:ext>
              </a:extLst>
            </p:cNvPr>
            <p:cNvSpPr/>
            <p:nvPr/>
          </p:nvSpPr>
          <p:spPr>
            <a:xfrm>
              <a:off x="12801596" y="0"/>
              <a:ext cx="1417584" cy="1417584"/>
            </a:xfrm>
            <a:prstGeom prst="ellipse">
              <a:avLst/>
            </a:prstGeom>
            <a:solidFill>
              <a:srgbClr val="3EAD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4" name="Group 103">
              <a:extLst>
                <a:ext uri="{FF2B5EF4-FFF2-40B4-BE49-F238E27FC236}">
                  <a16:creationId xmlns:a16="http://schemas.microsoft.com/office/drawing/2014/main" id="{90D9008B-6805-4352-B3F8-53C376DECA2F}"/>
                </a:ext>
              </a:extLst>
            </p:cNvPr>
            <p:cNvGrpSpPr>
              <a:grpSpLocks noChangeAspect="1"/>
            </p:cNvGrpSpPr>
            <p:nvPr/>
          </p:nvGrpSpPr>
          <p:grpSpPr>
            <a:xfrm>
              <a:off x="13103509" y="301913"/>
              <a:ext cx="813759" cy="813759"/>
              <a:chOff x="7324948" y="3200401"/>
              <a:chExt cx="457198" cy="457198"/>
            </a:xfrm>
          </p:grpSpPr>
          <p:sp>
            <p:nvSpPr>
              <p:cNvPr id="105" name="AutoShape 51">
                <a:extLst>
                  <a:ext uri="{FF2B5EF4-FFF2-40B4-BE49-F238E27FC236}">
                    <a16:creationId xmlns:a16="http://schemas.microsoft.com/office/drawing/2014/main" id="{5A5902A7-842E-4B37-A8C8-C0F8808C5765}"/>
                  </a:ext>
                </a:extLst>
              </p:cNvPr>
              <p:cNvSpPr>
                <a:spLocks noChangeAspect="1" noChangeArrowheads="1" noTextEdit="1"/>
              </p:cNvSpPr>
              <p:nvPr/>
            </p:nvSpPr>
            <p:spPr bwMode="auto">
              <a:xfrm>
                <a:off x="7324948" y="3200401"/>
                <a:ext cx="457198" cy="45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53">
                <a:extLst>
                  <a:ext uri="{FF2B5EF4-FFF2-40B4-BE49-F238E27FC236}">
                    <a16:creationId xmlns:a16="http://schemas.microsoft.com/office/drawing/2014/main" id="{CCB5CB46-F421-4F7C-8005-A5413096920A}"/>
                  </a:ext>
                </a:extLst>
              </p:cNvPr>
              <p:cNvSpPr>
                <a:spLocks noEditPoints="1"/>
              </p:cNvSpPr>
              <p:nvPr/>
            </p:nvSpPr>
            <p:spPr bwMode="auto">
              <a:xfrm>
                <a:off x="7375363" y="3227918"/>
                <a:ext cx="356945" cy="402742"/>
              </a:xfrm>
              <a:custGeom>
                <a:avLst/>
                <a:gdLst>
                  <a:gd name="T0" fmla="*/ 780 w 780"/>
                  <a:gd name="T1" fmla="*/ 870 h 880"/>
                  <a:gd name="T2" fmla="*/ 10 w 780"/>
                  <a:gd name="T3" fmla="*/ 880 h 880"/>
                  <a:gd name="T4" fmla="*/ 0 w 780"/>
                  <a:gd name="T5" fmla="*/ 815 h 880"/>
                  <a:gd name="T6" fmla="*/ 51 w 780"/>
                  <a:gd name="T7" fmla="*/ 805 h 880"/>
                  <a:gd name="T8" fmla="*/ 61 w 780"/>
                  <a:gd name="T9" fmla="*/ 774 h 880"/>
                  <a:gd name="T10" fmla="*/ 729 w 780"/>
                  <a:gd name="T11" fmla="*/ 784 h 880"/>
                  <a:gd name="T12" fmla="*/ 770 w 780"/>
                  <a:gd name="T13" fmla="*/ 805 h 880"/>
                  <a:gd name="T14" fmla="*/ 15 w 780"/>
                  <a:gd name="T15" fmla="*/ 441 h 880"/>
                  <a:gd name="T16" fmla="*/ 775 w 780"/>
                  <a:gd name="T17" fmla="*/ 431 h 880"/>
                  <a:gd name="T18" fmla="*/ 765 w 780"/>
                  <a:gd name="T19" fmla="*/ 360 h 880"/>
                  <a:gd name="T20" fmla="*/ 533 w 780"/>
                  <a:gd name="T21" fmla="*/ 237 h 880"/>
                  <a:gd name="T22" fmla="*/ 247 w 780"/>
                  <a:gd name="T23" fmla="*/ 236 h 880"/>
                  <a:gd name="T24" fmla="*/ 15 w 780"/>
                  <a:gd name="T25" fmla="*/ 360 h 880"/>
                  <a:gd name="T26" fmla="*/ 5 w 780"/>
                  <a:gd name="T27" fmla="*/ 431 h 880"/>
                  <a:gd name="T28" fmla="*/ 708 w 780"/>
                  <a:gd name="T29" fmla="*/ 474 h 880"/>
                  <a:gd name="T30" fmla="*/ 665 w 780"/>
                  <a:gd name="T31" fmla="*/ 478 h 880"/>
                  <a:gd name="T32" fmla="*/ 664 w 780"/>
                  <a:gd name="T33" fmla="*/ 750 h 880"/>
                  <a:gd name="T34" fmla="*/ 718 w 780"/>
                  <a:gd name="T35" fmla="*/ 745 h 880"/>
                  <a:gd name="T36" fmla="*/ 708 w 780"/>
                  <a:gd name="T37" fmla="*/ 474 h 880"/>
                  <a:gd name="T38" fmla="*/ 549 w 780"/>
                  <a:gd name="T39" fmla="*/ 474 h 880"/>
                  <a:gd name="T40" fmla="*/ 539 w 780"/>
                  <a:gd name="T41" fmla="*/ 745 h 880"/>
                  <a:gd name="T42" fmla="*/ 594 w 780"/>
                  <a:gd name="T43" fmla="*/ 750 h 880"/>
                  <a:gd name="T44" fmla="*/ 593 w 780"/>
                  <a:gd name="T45" fmla="*/ 478 h 880"/>
                  <a:gd name="T46" fmla="*/ 402 w 780"/>
                  <a:gd name="T47" fmla="*/ 171 h 880"/>
                  <a:gd name="T48" fmla="*/ 404 w 780"/>
                  <a:gd name="T49" fmla="*/ 90 h 880"/>
                  <a:gd name="T50" fmla="*/ 548 w 780"/>
                  <a:gd name="T51" fmla="*/ 84 h 880"/>
                  <a:gd name="T52" fmla="*/ 510 w 780"/>
                  <a:gd name="T53" fmla="*/ 43 h 880"/>
                  <a:gd name="T54" fmla="*/ 546 w 780"/>
                  <a:gd name="T55" fmla="*/ 0 h 880"/>
                  <a:gd name="T56" fmla="*/ 380 w 780"/>
                  <a:gd name="T57" fmla="*/ 0 h 880"/>
                  <a:gd name="T58" fmla="*/ 377 w 780"/>
                  <a:gd name="T59" fmla="*/ 90 h 880"/>
                  <a:gd name="T60" fmla="*/ 390 w 780"/>
                  <a:gd name="T61" fmla="*/ 171 h 880"/>
                  <a:gd name="T62" fmla="*/ 350 w 780"/>
                  <a:gd name="T63" fmla="*/ 474 h 880"/>
                  <a:gd name="T64" fmla="*/ 306 w 780"/>
                  <a:gd name="T65" fmla="*/ 478 h 880"/>
                  <a:gd name="T66" fmla="*/ 305 w 780"/>
                  <a:gd name="T67" fmla="*/ 750 h 880"/>
                  <a:gd name="T68" fmla="*/ 360 w 780"/>
                  <a:gd name="T69" fmla="*/ 745 h 880"/>
                  <a:gd name="T70" fmla="*/ 350 w 780"/>
                  <a:gd name="T71" fmla="*/ 474 h 880"/>
                  <a:gd name="T72" fmla="*/ 430 w 780"/>
                  <a:gd name="T73" fmla="*/ 474 h 880"/>
                  <a:gd name="T74" fmla="*/ 420 w 780"/>
                  <a:gd name="T75" fmla="*/ 745 h 880"/>
                  <a:gd name="T76" fmla="*/ 475 w 780"/>
                  <a:gd name="T77" fmla="*/ 750 h 880"/>
                  <a:gd name="T78" fmla="*/ 474 w 780"/>
                  <a:gd name="T79" fmla="*/ 478 h 880"/>
                  <a:gd name="T80" fmla="*/ 72 w 780"/>
                  <a:gd name="T81" fmla="*/ 474 h 880"/>
                  <a:gd name="T82" fmla="*/ 62 w 780"/>
                  <a:gd name="T83" fmla="*/ 745 h 880"/>
                  <a:gd name="T84" fmla="*/ 116 w 780"/>
                  <a:gd name="T85" fmla="*/ 750 h 880"/>
                  <a:gd name="T86" fmla="*/ 115 w 780"/>
                  <a:gd name="T87" fmla="*/ 478 h 880"/>
                  <a:gd name="T88" fmla="*/ 72 w 780"/>
                  <a:gd name="T89" fmla="*/ 474 h 880"/>
                  <a:gd name="T90" fmla="*/ 191 w 780"/>
                  <a:gd name="T91" fmla="*/ 474 h 880"/>
                  <a:gd name="T92" fmla="*/ 181 w 780"/>
                  <a:gd name="T93" fmla="*/ 745 h 880"/>
                  <a:gd name="T94" fmla="*/ 236 w 780"/>
                  <a:gd name="T95" fmla="*/ 750 h 880"/>
                  <a:gd name="T96" fmla="*/ 235 w 780"/>
                  <a:gd name="T97" fmla="*/ 4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0" h="880">
                    <a:moveTo>
                      <a:pt x="780" y="815"/>
                    </a:moveTo>
                    <a:cubicBezTo>
                      <a:pt x="780" y="815"/>
                      <a:pt x="780" y="815"/>
                      <a:pt x="780" y="870"/>
                    </a:cubicBezTo>
                    <a:cubicBezTo>
                      <a:pt x="780" y="875"/>
                      <a:pt x="776" y="880"/>
                      <a:pt x="770" y="880"/>
                    </a:cubicBezTo>
                    <a:cubicBezTo>
                      <a:pt x="770" y="880"/>
                      <a:pt x="770" y="880"/>
                      <a:pt x="10" y="880"/>
                    </a:cubicBezTo>
                    <a:cubicBezTo>
                      <a:pt x="4" y="880"/>
                      <a:pt x="0" y="875"/>
                      <a:pt x="0" y="870"/>
                    </a:cubicBezTo>
                    <a:cubicBezTo>
                      <a:pt x="0" y="870"/>
                      <a:pt x="0" y="870"/>
                      <a:pt x="0" y="815"/>
                    </a:cubicBezTo>
                    <a:cubicBezTo>
                      <a:pt x="0" y="809"/>
                      <a:pt x="4" y="805"/>
                      <a:pt x="10" y="805"/>
                    </a:cubicBezTo>
                    <a:cubicBezTo>
                      <a:pt x="10" y="805"/>
                      <a:pt x="10" y="805"/>
                      <a:pt x="51" y="805"/>
                    </a:cubicBezTo>
                    <a:cubicBezTo>
                      <a:pt x="51" y="805"/>
                      <a:pt x="51" y="805"/>
                      <a:pt x="51" y="784"/>
                    </a:cubicBezTo>
                    <a:cubicBezTo>
                      <a:pt x="51" y="779"/>
                      <a:pt x="56" y="774"/>
                      <a:pt x="61" y="774"/>
                    </a:cubicBezTo>
                    <a:cubicBezTo>
                      <a:pt x="61" y="774"/>
                      <a:pt x="61" y="774"/>
                      <a:pt x="719" y="774"/>
                    </a:cubicBezTo>
                    <a:cubicBezTo>
                      <a:pt x="724" y="774"/>
                      <a:pt x="729" y="779"/>
                      <a:pt x="729" y="784"/>
                    </a:cubicBezTo>
                    <a:cubicBezTo>
                      <a:pt x="729" y="784"/>
                      <a:pt x="729" y="784"/>
                      <a:pt x="729" y="805"/>
                    </a:cubicBezTo>
                    <a:cubicBezTo>
                      <a:pt x="729" y="805"/>
                      <a:pt x="729" y="805"/>
                      <a:pt x="770" y="805"/>
                    </a:cubicBezTo>
                    <a:cubicBezTo>
                      <a:pt x="776" y="805"/>
                      <a:pt x="780" y="809"/>
                      <a:pt x="780" y="815"/>
                    </a:cubicBezTo>
                    <a:close/>
                    <a:moveTo>
                      <a:pt x="15" y="441"/>
                    </a:moveTo>
                    <a:cubicBezTo>
                      <a:pt x="765" y="441"/>
                      <a:pt x="765" y="441"/>
                      <a:pt x="765" y="441"/>
                    </a:cubicBezTo>
                    <a:cubicBezTo>
                      <a:pt x="771" y="441"/>
                      <a:pt x="775" y="437"/>
                      <a:pt x="775" y="431"/>
                    </a:cubicBezTo>
                    <a:cubicBezTo>
                      <a:pt x="775" y="370"/>
                      <a:pt x="775" y="370"/>
                      <a:pt x="775" y="370"/>
                    </a:cubicBezTo>
                    <a:cubicBezTo>
                      <a:pt x="775" y="365"/>
                      <a:pt x="771" y="360"/>
                      <a:pt x="765" y="360"/>
                    </a:cubicBezTo>
                    <a:cubicBezTo>
                      <a:pt x="611" y="360"/>
                      <a:pt x="611" y="360"/>
                      <a:pt x="611" y="360"/>
                    </a:cubicBezTo>
                    <a:cubicBezTo>
                      <a:pt x="599" y="312"/>
                      <a:pt x="572" y="268"/>
                      <a:pt x="533" y="237"/>
                    </a:cubicBezTo>
                    <a:cubicBezTo>
                      <a:pt x="493" y="204"/>
                      <a:pt x="442" y="186"/>
                      <a:pt x="390" y="186"/>
                    </a:cubicBezTo>
                    <a:cubicBezTo>
                      <a:pt x="338" y="186"/>
                      <a:pt x="288" y="204"/>
                      <a:pt x="247" y="236"/>
                    </a:cubicBezTo>
                    <a:cubicBezTo>
                      <a:pt x="208" y="268"/>
                      <a:pt x="181" y="312"/>
                      <a:pt x="169" y="360"/>
                    </a:cubicBezTo>
                    <a:cubicBezTo>
                      <a:pt x="15" y="360"/>
                      <a:pt x="15" y="360"/>
                      <a:pt x="15" y="360"/>
                    </a:cubicBezTo>
                    <a:cubicBezTo>
                      <a:pt x="9" y="360"/>
                      <a:pt x="5" y="365"/>
                      <a:pt x="5" y="370"/>
                    </a:cubicBezTo>
                    <a:cubicBezTo>
                      <a:pt x="5" y="431"/>
                      <a:pt x="5" y="431"/>
                      <a:pt x="5" y="431"/>
                    </a:cubicBezTo>
                    <a:cubicBezTo>
                      <a:pt x="5" y="437"/>
                      <a:pt x="9" y="441"/>
                      <a:pt x="15" y="441"/>
                    </a:cubicBezTo>
                    <a:close/>
                    <a:moveTo>
                      <a:pt x="708" y="474"/>
                    </a:moveTo>
                    <a:cubicBezTo>
                      <a:pt x="669" y="474"/>
                      <a:pt x="669" y="474"/>
                      <a:pt x="669" y="474"/>
                    </a:cubicBezTo>
                    <a:cubicBezTo>
                      <a:pt x="666" y="474"/>
                      <a:pt x="665" y="476"/>
                      <a:pt x="665" y="478"/>
                    </a:cubicBezTo>
                    <a:cubicBezTo>
                      <a:pt x="659" y="745"/>
                      <a:pt x="659" y="745"/>
                      <a:pt x="659" y="745"/>
                    </a:cubicBezTo>
                    <a:cubicBezTo>
                      <a:pt x="659" y="747"/>
                      <a:pt x="661" y="750"/>
                      <a:pt x="664" y="750"/>
                    </a:cubicBezTo>
                    <a:cubicBezTo>
                      <a:pt x="714" y="750"/>
                      <a:pt x="714" y="750"/>
                      <a:pt x="714" y="750"/>
                    </a:cubicBezTo>
                    <a:cubicBezTo>
                      <a:pt x="716" y="750"/>
                      <a:pt x="718" y="747"/>
                      <a:pt x="718" y="745"/>
                    </a:cubicBezTo>
                    <a:cubicBezTo>
                      <a:pt x="713" y="478"/>
                      <a:pt x="713" y="478"/>
                      <a:pt x="713" y="478"/>
                    </a:cubicBezTo>
                    <a:cubicBezTo>
                      <a:pt x="713" y="476"/>
                      <a:pt x="711" y="474"/>
                      <a:pt x="708" y="474"/>
                    </a:cubicBezTo>
                    <a:close/>
                    <a:moveTo>
                      <a:pt x="589" y="474"/>
                    </a:moveTo>
                    <a:cubicBezTo>
                      <a:pt x="549" y="474"/>
                      <a:pt x="549" y="474"/>
                      <a:pt x="549" y="474"/>
                    </a:cubicBezTo>
                    <a:cubicBezTo>
                      <a:pt x="547" y="474"/>
                      <a:pt x="545" y="476"/>
                      <a:pt x="545" y="478"/>
                    </a:cubicBezTo>
                    <a:cubicBezTo>
                      <a:pt x="539" y="745"/>
                      <a:pt x="539" y="745"/>
                      <a:pt x="539" y="745"/>
                    </a:cubicBezTo>
                    <a:cubicBezTo>
                      <a:pt x="539" y="747"/>
                      <a:pt x="542" y="750"/>
                      <a:pt x="544" y="750"/>
                    </a:cubicBezTo>
                    <a:cubicBezTo>
                      <a:pt x="594" y="750"/>
                      <a:pt x="594" y="750"/>
                      <a:pt x="594" y="750"/>
                    </a:cubicBezTo>
                    <a:cubicBezTo>
                      <a:pt x="597" y="750"/>
                      <a:pt x="599" y="747"/>
                      <a:pt x="599" y="745"/>
                    </a:cubicBezTo>
                    <a:cubicBezTo>
                      <a:pt x="593" y="478"/>
                      <a:pt x="593" y="478"/>
                      <a:pt x="593" y="478"/>
                    </a:cubicBezTo>
                    <a:cubicBezTo>
                      <a:pt x="593" y="476"/>
                      <a:pt x="591" y="474"/>
                      <a:pt x="589" y="474"/>
                    </a:cubicBezTo>
                    <a:close/>
                    <a:moveTo>
                      <a:pt x="402" y="171"/>
                    </a:moveTo>
                    <a:cubicBezTo>
                      <a:pt x="402" y="93"/>
                      <a:pt x="402" y="93"/>
                      <a:pt x="402" y="93"/>
                    </a:cubicBezTo>
                    <a:cubicBezTo>
                      <a:pt x="402" y="91"/>
                      <a:pt x="403" y="90"/>
                      <a:pt x="404" y="90"/>
                    </a:cubicBezTo>
                    <a:cubicBezTo>
                      <a:pt x="546" y="90"/>
                      <a:pt x="546" y="90"/>
                      <a:pt x="546" y="90"/>
                    </a:cubicBezTo>
                    <a:cubicBezTo>
                      <a:pt x="549" y="90"/>
                      <a:pt x="550" y="86"/>
                      <a:pt x="548" y="84"/>
                    </a:cubicBezTo>
                    <a:cubicBezTo>
                      <a:pt x="510" y="47"/>
                      <a:pt x="510" y="47"/>
                      <a:pt x="510" y="47"/>
                    </a:cubicBezTo>
                    <a:cubicBezTo>
                      <a:pt x="509" y="46"/>
                      <a:pt x="509" y="44"/>
                      <a:pt x="510" y="43"/>
                    </a:cubicBezTo>
                    <a:cubicBezTo>
                      <a:pt x="548" y="5"/>
                      <a:pt x="548" y="5"/>
                      <a:pt x="548" y="5"/>
                    </a:cubicBezTo>
                    <a:cubicBezTo>
                      <a:pt x="550" y="3"/>
                      <a:pt x="549" y="0"/>
                      <a:pt x="546" y="0"/>
                    </a:cubicBezTo>
                    <a:cubicBezTo>
                      <a:pt x="398" y="0"/>
                      <a:pt x="398" y="0"/>
                      <a:pt x="398" y="0"/>
                    </a:cubicBezTo>
                    <a:cubicBezTo>
                      <a:pt x="380" y="0"/>
                      <a:pt x="380" y="0"/>
                      <a:pt x="380" y="0"/>
                    </a:cubicBezTo>
                    <a:cubicBezTo>
                      <a:pt x="379" y="0"/>
                      <a:pt x="377" y="2"/>
                      <a:pt x="377" y="3"/>
                    </a:cubicBezTo>
                    <a:cubicBezTo>
                      <a:pt x="377" y="90"/>
                      <a:pt x="377" y="90"/>
                      <a:pt x="377" y="90"/>
                    </a:cubicBezTo>
                    <a:cubicBezTo>
                      <a:pt x="377" y="171"/>
                      <a:pt x="377" y="171"/>
                      <a:pt x="377" y="171"/>
                    </a:cubicBezTo>
                    <a:cubicBezTo>
                      <a:pt x="382" y="171"/>
                      <a:pt x="386" y="171"/>
                      <a:pt x="390" y="171"/>
                    </a:cubicBezTo>
                    <a:cubicBezTo>
                      <a:pt x="394" y="171"/>
                      <a:pt x="397" y="171"/>
                      <a:pt x="402" y="171"/>
                    </a:cubicBezTo>
                    <a:close/>
                    <a:moveTo>
                      <a:pt x="350" y="474"/>
                    </a:moveTo>
                    <a:cubicBezTo>
                      <a:pt x="311" y="474"/>
                      <a:pt x="311" y="474"/>
                      <a:pt x="311" y="474"/>
                    </a:cubicBezTo>
                    <a:cubicBezTo>
                      <a:pt x="308" y="474"/>
                      <a:pt x="306" y="476"/>
                      <a:pt x="306" y="478"/>
                    </a:cubicBezTo>
                    <a:cubicBezTo>
                      <a:pt x="300" y="745"/>
                      <a:pt x="300" y="745"/>
                      <a:pt x="300" y="745"/>
                    </a:cubicBezTo>
                    <a:cubicBezTo>
                      <a:pt x="300" y="747"/>
                      <a:pt x="303" y="750"/>
                      <a:pt x="305" y="750"/>
                    </a:cubicBezTo>
                    <a:cubicBezTo>
                      <a:pt x="355" y="750"/>
                      <a:pt x="355" y="750"/>
                      <a:pt x="355" y="750"/>
                    </a:cubicBezTo>
                    <a:cubicBezTo>
                      <a:pt x="358" y="750"/>
                      <a:pt x="360" y="747"/>
                      <a:pt x="360" y="745"/>
                    </a:cubicBezTo>
                    <a:cubicBezTo>
                      <a:pt x="354" y="478"/>
                      <a:pt x="354" y="478"/>
                      <a:pt x="354" y="478"/>
                    </a:cubicBezTo>
                    <a:cubicBezTo>
                      <a:pt x="354" y="476"/>
                      <a:pt x="353" y="474"/>
                      <a:pt x="350" y="474"/>
                    </a:cubicBezTo>
                    <a:close/>
                    <a:moveTo>
                      <a:pt x="469" y="474"/>
                    </a:moveTo>
                    <a:cubicBezTo>
                      <a:pt x="430" y="474"/>
                      <a:pt x="430" y="474"/>
                      <a:pt x="430" y="474"/>
                    </a:cubicBezTo>
                    <a:cubicBezTo>
                      <a:pt x="427" y="474"/>
                      <a:pt x="426" y="476"/>
                      <a:pt x="426" y="478"/>
                    </a:cubicBezTo>
                    <a:cubicBezTo>
                      <a:pt x="420" y="745"/>
                      <a:pt x="420" y="745"/>
                      <a:pt x="420" y="745"/>
                    </a:cubicBezTo>
                    <a:cubicBezTo>
                      <a:pt x="420" y="747"/>
                      <a:pt x="422" y="750"/>
                      <a:pt x="425" y="750"/>
                    </a:cubicBezTo>
                    <a:cubicBezTo>
                      <a:pt x="475" y="750"/>
                      <a:pt x="475" y="750"/>
                      <a:pt x="475" y="750"/>
                    </a:cubicBezTo>
                    <a:cubicBezTo>
                      <a:pt x="477" y="750"/>
                      <a:pt x="480" y="747"/>
                      <a:pt x="480" y="745"/>
                    </a:cubicBezTo>
                    <a:cubicBezTo>
                      <a:pt x="474" y="478"/>
                      <a:pt x="474" y="478"/>
                      <a:pt x="474" y="478"/>
                    </a:cubicBezTo>
                    <a:cubicBezTo>
                      <a:pt x="474" y="476"/>
                      <a:pt x="472" y="474"/>
                      <a:pt x="469" y="474"/>
                    </a:cubicBezTo>
                    <a:close/>
                    <a:moveTo>
                      <a:pt x="72" y="474"/>
                    </a:moveTo>
                    <a:cubicBezTo>
                      <a:pt x="69" y="474"/>
                      <a:pt x="67" y="476"/>
                      <a:pt x="67" y="478"/>
                    </a:cubicBezTo>
                    <a:cubicBezTo>
                      <a:pt x="67" y="478"/>
                      <a:pt x="67" y="478"/>
                      <a:pt x="62" y="745"/>
                    </a:cubicBezTo>
                    <a:cubicBezTo>
                      <a:pt x="62" y="747"/>
                      <a:pt x="64" y="750"/>
                      <a:pt x="66" y="750"/>
                    </a:cubicBezTo>
                    <a:cubicBezTo>
                      <a:pt x="66" y="750"/>
                      <a:pt x="66" y="750"/>
                      <a:pt x="116" y="750"/>
                    </a:cubicBezTo>
                    <a:cubicBezTo>
                      <a:pt x="119" y="750"/>
                      <a:pt x="121" y="747"/>
                      <a:pt x="121" y="745"/>
                    </a:cubicBezTo>
                    <a:cubicBezTo>
                      <a:pt x="121" y="745"/>
                      <a:pt x="121" y="745"/>
                      <a:pt x="115" y="478"/>
                    </a:cubicBezTo>
                    <a:cubicBezTo>
                      <a:pt x="115" y="476"/>
                      <a:pt x="114" y="474"/>
                      <a:pt x="111" y="474"/>
                    </a:cubicBezTo>
                    <a:cubicBezTo>
                      <a:pt x="111" y="474"/>
                      <a:pt x="111" y="474"/>
                      <a:pt x="72" y="474"/>
                    </a:cubicBezTo>
                    <a:close/>
                    <a:moveTo>
                      <a:pt x="231" y="474"/>
                    </a:moveTo>
                    <a:cubicBezTo>
                      <a:pt x="191" y="474"/>
                      <a:pt x="191" y="474"/>
                      <a:pt x="191" y="474"/>
                    </a:cubicBezTo>
                    <a:cubicBezTo>
                      <a:pt x="189" y="474"/>
                      <a:pt x="187" y="476"/>
                      <a:pt x="187" y="478"/>
                    </a:cubicBezTo>
                    <a:cubicBezTo>
                      <a:pt x="181" y="745"/>
                      <a:pt x="181" y="745"/>
                      <a:pt x="181" y="745"/>
                    </a:cubicBezTo>
                    <a:cubicBezTo>
                      <a:pt x="181" y="747"/>
                      <a:pt x="183" y="750"/>
                      <a:pt x="186" y="750"/>
                    </a:cubicBezTo>
                    <a:cubicBezTo>
                      <a:pt x="236" y="750"/>
                      <a:pt x="236" y="750"/>
                      <a:pt x="236" y="750"/>
                    </a:cubicBezTo>
                    <a:cubicBezTo>
                      <a:pt x="238" y="750"/>
                      <a:pt x="241" y="747"/>
                      <a:pt x="241" y="745"/>
                    </a:cubicBezTo>
                    <a:cubicBezTo>
                      <a:pt x="235" y="478"/>
                      <a:pt x="235" y="478"/>
                      <a:pt x="235" y="478"/>
                    </a:cubicBezTo>
                    <a:cubicBezTo>
                      <a:pt x="235" y="476"/>
                      <a:pt x="233" y="474"/>
                      <a:pt x="231" y="47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cxnSp>
        <p:nvCxnSpPr>
          <p:cNvPr id="72" name="Straight Arrow Connector 71">
            <a:extLst>
              <a:ext uri="{FF2B5EF4-FFF2-40B4-BE49-F238E27FC236}">
                <a16:creationId xmlns:a16="http://schemas.microsoft.com/office/drawing/2014/main" id="{82094ADC-7B4E-4ECF-A140-AFF6DF6DC2E3}"/>
              </a:ext>
            </a:extLst>
          </p:cNvPr>
          <p:cNvCxnSpPr>
            <a:cxnSpLocks/>
          </p:cNvCxnSpPr>
          <p:nvPr/>
        </p:nvCxnSpPr>
        <p:spPr>
          <a:xfrm>
            <a:off x="10612146" y="3698792"/>
            <a:ext cx="0" cy="1067675"/>
          </a:xfrm>
          <a:prstGeom prst="straightConnector1">
            <a:avLst/>
          </a:prstGeom>
          <a:ln w="19050" cap="flat" cmpd="sng" algn="ctr">
            <a:solidFill>
              <a:srgbClr val="295E7E"/>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20A786FA-30BB-4683-9124-BE9F03D8A79A}"/>
              </a:ext>
            </a:extLst>
          </p:cNvPr>
          <p:cNvCxnSpPr>
            <a:cxnSpLocks/>
          </p:cNvCxnSpPr>
          <p:nvPr/>
        </p:nvCxnSpPr>
        <p:spPr>
          <a:xfrm flipV="1">
            <a:off x="8767422" y="3044311"/>
            <a:ext cx="0" cy="1067675"/>
          </a:xfrm>
          <a:prstGeom prst="straightConnector1">
            <a:avLst/>
          </a:prstGeom>
          <a:ln w="19050" cap="flat" cmpd="sng" algn="ctr">
            <a:solidFill>
              <a:srgbClr val="30C1D7"/>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F8752C54-1CFC-467C-8D90-E6622FEC5778}"/>
              </a:ext>
            </a:extLst>
          </p:cNvPr>
          <p:cNvCxnSpPr>
            <a:cxnSpLocks/>
          </p:cNvCxnSpPr>
          <p:nvPr/>
        </p:nvCxnSpPr>
        <p:spPr>
          <a:xfrm flipV="1">
            <a:off x="1642916" y="2991881"/>
            <a:ext cx="0" cy="1067675"/>
          </a:xfrm>
          <a:prstGeom prst="straightConnector1">
            <a:avLst/>
          </a:prstGeom>
          <a:ln w="19050">
            <a:solidFill>
              <a:schemeClr val="tx2"/>
            </a:solidFill>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8CFA0D09-AEAD-465C-B643-8476E7F025B5}"/>
              </a:ext>
            </a:extLst>
          </p:cNvPr>
          <p:cNvCxnSpPr>
            <a:cxnSpLocks/>
          </p:cNvCxnSpPr>
          <p:nvPr/>
        </p:nvCxnSpPr>
        <p:spPr>
          <a:xfrm flipV="1">
            <a:off x="5280931" y="2986739"/>
            <a:ext cx="0" cy="1067675"/>
          </a:xfrm>
          <a:prstGeom prst="straightConnector1">
            <a:avLst/>
          </a:prstGeom>
          <a:ln w="19050">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237536ED-3E0C-4A42-8CCB-A74D42EB26AF}"/>
              </a:ext>
            </a:extLst>
          </p:cNvPr>
          <p:cNvCxnSpPr>
            <a:cxnSpLocks/>
          </p:cNvCxnSpPr>
          <p:nvPr/>
        </p:nvCxnSpPr>
        <p:spPr>
          <a:xfrm>
            <a:off x="3427163" y="3719145"/>
            <a:ext cx="0" cy="1067675"/>
          </a:xfrm>
          <a:prstGeom prst="straightConnector1">
            <a:avLst/>
          </a:prstGeom>
          <a:ln w="19050">
            <a:solidFill>
              <a:schemeClr val="accent2"/>
            </a:solidFill>
            <a:prstDash val="sysDot"/>
            <a:headEnd type="none" w="lg" len="lg"/>
            <a:tailEnd type="oval" w="lg" len="lg"/>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E3438F80-E5C8-453E-B253-FB7934B04864}"/>
              </a:ext>
            </a:extLst>
          </p:cNvPr>
          <p:cNvCxnSpPr>
            <a:cxnSpLocks/>
          </p:cNvCxnSpPr>
          <p:nvPr/>
        </p:nvCxnSpPr>
        <p:spPr>
          <a:xfrm>
            <a:off x="7100561" y="3771900"/>
            <a:ext cx="0" cy="1067675"/>
          </a:xfrm>
          <a:prstGeom prst="straightConnector1">
            <a:avLst/>
          </a:prstGeom>
          <a:ln w="19050" cap="flat" cmpd="sng" algn="ctr">
            <a:solidFill>
              <a:srgbClr val="3EAD92"/>
            </a:solidFill>
            <a:prstDash val="sysDot"/>
            <a:round/>
            <a:headEnd type="none" w="lg" len="lg"/>
            <a:tailEnd type="oval" w="lg" len="lg"/>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BA86C02-BCB6-4B6A-B516-BB6A26B7A6F1}"/>
              </a:ext>
            </a:extLst>
          </p:cNvPr>
          <p:cNvSpPr txBox="1"/>
          <p:nvPr/>
        </p:nvSpPr>
        <p:spPr>
          <a:xfrm>
            <a:off x="5606715" y="310414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9" name="TextBox 8">
            <a:extLst>
              <a:ext uri="{FF2B5EF4-FFF2-40B4-BE49-F238E27FC236}">
                <a16:creationId xmlns:a16="http://schemas.microsoft.com/office/drawing/2014/main" id="{BBE6899E-AA52-4D12-A310-A3E4AF0DC107}"/>
              </a:ext>
            </a:extLst>
          </p:cNvPr>
          <p:cNvSpPr txBox="1"/>
          <p:nvPr/>
        </p:nvSpPr>
        <p:spPr>
          <a:xfrm>
            <a:off x="5606715" y="3104147"/>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000000"/>
              </a:solidFill>
            </a:endParaRPr>
          </a:p>
        </p:txBody>
      </p:sp>
      <p:sp>
        <p:nvSpPr>
          <p:cNvPr id="10" name="TextBox 9">
            <a:extLst>
              <a:ext uri="{FF2B5EF4-FFF2-40B4-BE49-F238E27FC236}">
                <a16:creationId xmlns:a16="http://schemas.microsoft.com/office/drawing/2014/main" id="{04D78F8C-167F-490C-9A5E-A760BB471D3A}"/>
              </a:ext>
            </a:extLst>
          </p:cNvPr>
          <p:cNvSpPr txBox="1"/>
          <p:nvPr/>
        </p:nvSpPr>
        <p:spPr>
          <a:xfrm>
            <a:off x="9521940" y="1050225"/>
            <a:ext cx="2375282" cy="286501"/>
          </a:xfrm>
          <a:prstGeom prst="rect">
            <a:avLst/>
          </a:prstGeom>
          <a:solidFill>
            <a:srgbClr val="164484"/>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1"/>
                </a:solidFill>
              </a:rPr>
              <a:t>Illustrative, non-exhaustive</a:t>
            </a:r>
          </a:p>
        </p:txBody>
      </p:sp>
    </p:spTree>
    <p:extLst>
      <p:ext uri="{BB962C8B-B14F-4D97-AF65-F5344CB8AC3E}">
        <p14:creationId xmlns:p14="http://schemas.microsoft.com/office/powerpoint/2010/main" val="30010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0051" y="2764203"/>
            <a:ext cx="2981778" cy="1314311"/>
          </a:xfrm>
        </p:spPr>
        <p:txBody>
          <a:bodyPr vert="horz"/>
          <a:lstStyle/>
          <a:p>
            <a:r>
              <a:rPr lang="en-US" cap="none" dirty="0"/>
              <a:t>Additional resources about the programs</a:t>
            </a:r>
          </a:p>
        </p:txBody>
      </p:sp>
      <p:graphicFrame>
        <p:nvGraphicFramePr>
          <p:cNvPr id="6" name="Table 4">
            <a:extLst>
              <a:ext uri="{FF2B5EF4-FFF2-40B4-BE49-F238E27FC236}">
                <a16:creationId xmlns:a16="http://schemas.microsoft.com/office/drawing/2014/main" id="{1B2AFBB1-48FA-44A3-BDA4-27A94D2CCDFD}"/>
              </a:ext>
            </a:extLst>
          </p:cNvPr>
          <p:cNvGraphicFramePr>
            <a:graphicFrameLocks noGrp="1"/>
          </p:cNvGraphicFramePr>
          <p:nvPr>
            <p:extLst>
              <p:ext uri="{D42A27DB-BD31-4B8C-83A1-F6EECF244321}">
                <p14:modId xmlns:p14="http://schemas.microsoft.com/office/powerpoint/2010/main" val="1189665389"/>
              </p:ext>
            </p:extLst>
          </p:nvPr>
        </p:nvGraphicFramePr>
        <p:xfrm>
          <a:off x="4955257" y="1267579"/>
          <a:ext cx="6101000" cy="4436536"/>
        </p:xfrm>
        <a:graphic>
          <a:graphicData uri="http://schemas.openxmlformats.org/drawingml/2006/table">
            <a:tbl>
              <a:tblPr firstRow="1" bandRow="1">
                <a:tableStyleId>{5C22544A-7EE6-4342-B048-85BDC9FD1C3A}</a:tableStyleId>
              </a:tblPr>
              <a:tblGrid>
                <a:gridCol w="322500">
                  <a:extLst>
                    <a:ext uri="{9D8B030D-6E8A-4147-A177-3AD203B41FA5}">
                      <a16:colId xmlns:a16="http://schemas.microsoft.com/office/drawing/2014/main" val="1856943140"/>
                    </a:ext>
                  </a:extLst>
                </a:gridCol>
                <a:gridCol w="5778500">
                  <a:extLst>
                    <a:ext uri="{9D8B030D-6E8A-4147-A177-3AD203B41FA5}">
                      <a16:colId xmlns:a16="http://schemas.microsoft.com/office/drawing/2014/main" val="3659914897"/>
                    </a:ext>
                  </a:extLst>
                </a:gridCol>
              </a:tblGrid>
              <a:tr h="1109134">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mn-cs"/>
                        </a:rPr>
                        <a:t>Visit the InternetForAll.gov for additional information on federal funding program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2274378"/>
                  </a:ext>
                </a:extLst>
              </a:tr>
              <a:tr h="1109134">
                <a:tc>
                  <a:txBody>
                    <a:bodyPr/>
                    <a:lstStyle/>
                    <a:p>
                      <a:endParaRPr lang="en-US" sz="160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Engage with your State or territory regarding their plans to improve high-speed Internet acces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776535"/>
                  </a:ext>
                </a:extLst>
              </a:tr>
              <a:tr h="1109134">
                <a:tc>
                  <a:txBody>
                    <a:bodyPr/>
                    <a:lstStyle/>
                    <a:p>
                      <a:endParaRPr lang="en-US" sz="1600" dirty="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j-lt"/>
                          <a:ea typeface="+mn-ea"/>
                          <a:cs typeface="+mn-cs"/>
                        </a:rPr>
                        <a:t>Submit questions to InternetForAll@ntia.gov</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910691"/>
                  </a:ext>
                </a:extLst>
              </a:tr>
              <a:tr h="1109134">
                <a:tc>
                  <a:txBody>
                    <a:bodyPr/>
                    <a:lstStyle/>
                    <a:p>
                      <a:endParaRPr lang="en-US" sz="1600">
                        <a:latin typeface="+mj-lt"/>
                      </a:endParaRP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mn-lt"/>
                          <a:ea typeface="+mn-ea"/>
                          <a:cs typeface="+mn-cs"/>
                        </a:rPr>
                        <a:t>Attend future </a:t>
                      </a:r>
                      <a:r>
                        <a:rPr kumimoji="0" lang="en-US" sz="1800" b="0" i="0" u="none" strike="noStrike" kern="1200" cap="none" spc="0" normalizeH="0" baseline="0" noProof="0" dirty="0" err="1">
                          <a:ln>
                            <a:noFill/>
                          </a:ln>
                          <a:solidFill>
                            <a:srgbClr val="000000"/>
                          </a:solidFill>
                          <a:effectLst/>
                          <a:uLnTx/>
                          <a:uFillTx/>
                          <a:latin typeface="+mn-lt"/>
                          <a:ea typeface="+mn-ea"/>
                          <a:cs typeface="+mn-cs"/>
                        </a:rPr>
                        <a:t>NTIA</a:t>
                      </a:r>
                      <a:r>
                        <a:rPr kumimoji="0" lang="en-US" sz="1800" b="0" i="0" u="none" strike="noStrike" kern="1200" cap="none" spc="0" normalizeH="0" baseline="0" noProof="0" dirty="0">
                          <a:ln>
                            <a:noFill/>
                          </a:ln>
                          <a:solidFill>
                            <a:srgbClr val="000000"/>
                          </a:solidFill>
                          <a:effectLst/>
                          <a:uLnTx/>
                          <a:uFillTx/>
                          <a:latin typeface="+mn-lt"/>
                          <a:ea typeface="+mn-ea"/>
                          <a:cs typeface="+mn-cs"/>
                        </a:rPr>
                        <a:t> webinars, including program-specific application guidance webinars for applicants</a:t>
                      </a:r>
                    </a:p>
                  </a:txBody>
                  <a:tcPr anchor="ctr">
                    <a:lnL w="12700" cmpd="sng">
                      <a:noFill/>
                    </a:lnL>
                    <a:lnR w="12700" cmpd="sng">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0869718"/>
                  </a:ext>
                </a:extLst>
              </a:tr>
            </a:tbl>
          </a:graphicData>
        </a:graphic>
      </p:graphicFrame>
      <p:sp>
        <p:nvSpPr>
          <p:cNvPr id="7" name="Oval 20">
            <a:extLst>
              <a:ext uri="{FF2B5EF4-FFF2-40B4-BE49-F238E27FC236}">
                <a16:creationId xmlns:a16="http://schemas.microsoft.com/office/drawing/2014/main" id="{0DA4A6FF-B317-47C5-973F-4015B5E4116B}"/>
              </a:ext>
            </a:extLst>
          </p:cNvPr>
          <p:cNvSpPr>
            <a:spLocks noChangeAspect="1" noChangeArrowheads="1"/>
          </p:cNvSpPr>
          <p:nvPr/>
        </p:nvSpPr>
        <p:spPr bwMode="auto">
          <a:xfrm>
            <a:off x="4963052" y="1668691"/>
            <a:ext cx="306910" cy="306910"/>
          </a:xfrm>
          <a:prstGeom prst="ellipse">
            <a:avLst/>
          </a:prstGeom>
          <a:solidFill>
            <a:srgbClr val="164484"/>
          </a:solidFill>
          <a:ln w="9525" cap="flat" cmpd="sng" algn="ctr">
            <a:solidFill>
              <a:srgbClr val="16448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1</a:t>
            </a:r>
          </a:p>
        </p:txBody>
      </p:sp>
      <p:sp>
        <p:nvSpPr>
          <p:cNvPr id="8" name="Oval 20">
            <a:extLst>
              <a:ext uri="{FF2B5EF4-FFF2-40B4-BE49-F238E27FC236}">
                <a16:creationId xmlns:a16="http://schemas.microsoft.com/office/drawing/2014/main" id="{A2E862C3-BE20-480F-8DA7-AB9D4092F33D}"/>
              </a:ext>
            </a:extLst>
          </p:cNvPr>
          <p:cNvSpPr>
            <a:spLocks noChangeAspect="1" noChangeArrowheads="1"/>
          </p:cNvSpPr>
          <p:nvPr/>
        </p:nvSpPr>
        <p:spPr bwMode="auto">
          <a:xfrm>
            <a:off x="4963052" y="2777825"/>
            <a:ext cx="306910" cy="306910"/>
          </a:xfrm>
          <a:prstGeom prst="ellipse">
            <a:avLst/>
          </a:prstGeom>
          <a:solidFill>
            <a:srgbClr val="164484"/>
          </a:solidFill>
          <a:ln w="9525" cap="flat" cmpd="sng" algn="ctr">
            <a:solidFill>
              <a:srgbClr val="16448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2</a:t>
            </a:r>
          </a:p>
        </p:txBody>
      </p:sp>
      <p:sp>
        <p:nvSpPr>
          <p:cNvPr id="9" name="Oval 20">
            <a:extLst>
              <a:ext uri="{FF2B5EF4-FFF2-40B4-BE49-F238E27FC236}">
                <a16:creationId xmlns:a16="http://schemas.microsoft.com/office/drawing/2014/main" id="{FEBE0A93-517E-4EC3-8623-F3262C12636A}"/>
              </a:ext>
            </a:extLst>
          </p:cNvPr>
          <p:cNvSpPr>
            <a:spLocks noChangeAspect="1" noChangeArrowheads="1"/>
          </p:cNvSpPr>
          <p:nvPr/>
        </p:nvSpPr>
        <p:spPr bwMode="auto">
          <a:xfrm>
            <a:off x="4963052" y="3886959"/>
            <a:ext cx="306910" cy="306910"/>
          </a:xfrm>
          <a:prstGeom prst="ellipse">
            <a:avLst/>
          </a:prstGeom>
          <a:solidFill>
            <a:srgbClr val="164484"/>
          </a:solidFill>
          <a:ln w="9525" cap="flat" cmpd="sng" algn="ctr">
            <a:solidFill>
              <a:srgbClr val="16448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3</a:t>
            </a:r>
          </a:p>
        </p:txBody>
      </p:sp>
      <p:sp>
        <p:nvSpPr>
          <p:cNvPr id="10" name="Oval 20">
            <a:extLst>
              <a:ext uri="{FF2B5EF4-FFF2-40B4-BE49-F238E27FC236}">
                <a16:creationId xmlns:a16="http://schemas.microsoft.com/office/drawing/2014/main" id="{F780DC10-A7BF-48C3-BE68-8B2C025F72AB}"/>
              </a:ext>
            </a:extLst>
          </p:cNvPr>
          <p:cNvSpPr>
            <a:spLocks noChangeAspect="1" noChangeArrowheads="1"/>
          </p:cNvSpPr>
          <p:nvPr/>
        </p:nvSpPr>
        <p:spPr bwMode="auto">
          <a:xfrm>
            <a:off x="4963052" y="4996093"/>
            <a:ext cx="306910" cy="306910"/>
          </a:xfrm>
          <a:prstGeom prst="ellipse">
            <a:avLst/>
          </a:prstGeom>
          <a:solidFill>
            <a:srgbClr val="164484"/>
          </a:solidFill>
          <a:ln w="9525" cap="flat" cmpd="sng" algn="ctr">
            <a:solidFill>
              <a:srgbClr val="16448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400" dirty="0">
                <a:solidFill>
                  <a:srgbClr val="FFFFFF">
                    <a:lumMod val="100000"/>
                  </a:srgbClr>
                </a:solidFill>
              </a:rPr>
              <a:t>4</a:t>
            </a:r>
          </a:p>
        </p:txBody>
      </p:sp>
    </p:spTree>
    <p:extLst>
      <p:ext uri="{BB962C8B-B14F-4D97-AF65-F5344CB8AC3E}">
        <p14:creationId xmlns:p14="http://schemas.microsoft.com/office/powerpoint/2010/main" val="2788867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0469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EA59D-BA9D-4FA9-A563-9291C29B450C}"/>
              </a:ext>
            </a:extLst>
          </p:cNvPr>
          <p:cNvSpPr>
            <a:spLocks noGrp="1"/>
          </p:cNvSpPr>
          <p:nvPr>
            <p:ph type="ctrTitle"/>
          </p:nvPr>
        </p:nvSpPr>
        <p:spPr>
          <a:xfrm>
            <a:off x="1097280" y="758952"/>
            <a:ext cx="10058400" cy="4345708"/>
          </a:xfrm>
        </p:spPr>
        <p:txBody>
          <a:bodyPr>
            <a:normAutofit/>
          </a:bodyPr>
          <a:lstStyle/>
          <a:p>
            <a:pPr>
              <a:lnSpc>
                <a:spcPct val="150000"/>
              </a:lnSpc>
            </a:pPr>
            <a:r>
              <a:rPr lang="en-US" sz="2600" cap="none" dirty="0">
                <a:solidFill>
                  <a:srgbClr val="164484"/>
                </a:solidFill>
                <a:effectLst/>
                <a:ea typeface="Calibri" panose="020F0502020204030204" pitchFamily="34" charset="0"/>
              </a:rPr>
              <a:t>"We'll make sure every single, every single, American has access to high-quality, affordable, high-speed Internet," </a:t>
            </a:r>
            <a:r>
              <a:rPr lang="en-US" sz="2600" cap="none" dirty="0">
                <a:solidFill>
                  <a:srgbClr val="164484"/>
                </a:solidFill>
                <a:ea typeface="Calibri" panose="020F0502020204030204" pitchFamily="34" charset="0"/>
              </a:rPr>
              <a:t>B</a:t>
            </a:r>
            <a:r>
              <a:rPr lang="en-US" sz="2600" cap="none" dirty="0">
                <a:solidFill>
                  <a:srgbClr val="164484"/>
                </a:solidFill>
                <a:effectLst/>
                <a:ea typeface="Calibri" panose="020F0502020204030204" pitchFamily="34" charset="0"/>
              </a:rPr>
              <a:t>iden said during his speech. "When I say affordable, I mean it. Americans pay too much for Internet service. We're going to drive down the price for families who have service now and make it easier for families who don't have affordable service to be able to get it now.”</a:t>
            </a:r>
            <a:br>
              <a:rPr lang="en-US" sz="2600" dirty="0">
                <a:effectLst/>
                <a:latin typeface="Calibri" panose="020F0502020204030204" pitchFamily="34" charset="0"/>
                <a:ea typeface="Calibri" panose="020F0502020204030204" pitchFamily="34" charset="0"/>
              </a:rPr>
            </a:br>
            <a:endParaRPr lang="en-US" sz="2600" dirty="0"/>
          </a:p>
        </p:txBody>
      </p:sp>
      <p:sp>
        <p:nvSpPr>
          <p:cNvPr id="3" name="Subtitle 2">
            <a:extLst>
              <a:ext uri="{FF2B5EF4-FFF2-40B4-BE49-F238E27FC236}">
                <a16:creationId xmlns:a16="http://schemas.microsoft.com/office/drawing/2014/main" id="{465A0303-75EA-4DBD-92B5-8A819BB28454}"/>
              </a:ext>
            </a:extLst>
          </p:cNvPr>
          <p:cNvSpPr>
            <a:spLocks noGrp="1"/>
          </p:cNvSpPr>
          <p:nvPr>
            <p:ph type="subTitle" idx="1"/>
          </p:nvPr>
        </p:nvSpPr>
        <p:spPr>
          <a:xfrm>
            <a:off x="1100051" y="5104660"/>
            <a:ext cx="10058400" cy="683492"/>
          </a:xfrm>
        </p:spPr>
        <p:txBody>
          <a:bodyPr>
            <a:normAutofit/>
          </a:bodyPr>
          <a:lstStyle/>
          <a:p>
            <a:pPr algn="r"/>
            <a:r>
              <a:rPr lang="en-US" sz="1800" dirty="0"/>
              <a:t>-President Joe Biden</a:t>
            </a:r>
          </a:p>
        </p:txBody>
      </p:sp>
    </p:spTree>
    <p:extLst>
      <p:ext uri="{BB962C8B-B14F-4D97-AF65-F5344CB8AC3E}">
        <p14:creationId xmlns:p14="http://schemas.microsoft.com/office/powerpoint/2010/main" val="2678397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1633F8F-9EAC-42B5-9DF0-DCEC8139C4F8}"/>
              </a:ext>
            </a:extLst>
          </p:cNvPr>
          <p:cNvGraphicFramePr>
            <a:graphicFrameLocks noChangeAspect="1"/>
          </p:cNvGraphicFramePr>
          <p:nvPr>
            <p:custDataLst>
              <p:tags r:id="rId2"/>
            </p:custDataLst>
            <p:extLst>
              <p:ext uri="{D42A27DB-BD31-4B8C-83A1-F6EECF244321}">
                <p14:modId xmlns:p14="http://schemas.microsoft.com/office/powerpoint/2010/main" val="3973835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6" name="think-cell Slide" r:id="rId7" imgW="395" imgH="396" progId="TCLayout.ActiveDocument.1">
                  <p:embed/>
                </p:oleObj>
              </mc:Choice>
              <mc:Fallback>
                <p:oleObj name="think-cell Slide" r:id="rId7" imgW="395" imgH="396" progId="TCLayout.ActiveDocument.1">
                  <p:embed/>
                  <p:pic>
                    <p:nvPicPr>
                      <p:cNvPr id="14" name="Object 13" hidden="1">
                        <a:extLst>
                          <a:ext uri="{FF2B5EF4-FFF2-40B4-BE49-F238E27FC236}">
                            <a16:creationId xmlns:a16="http://schemas.microsoft.com/office/drawing/2014/main" id="{31633F8F-9EAC-42B5-9DF0-DCEC8139C4F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1BFC94-598D-4C3B-8680-8977C5719A7F}"/>
              </a:ext>
            </a:extLst>
          </p:cNvPr>
          <p:cNvSpPr>
            <a:spLocks noGrp="1"/>
          </p:cNvSpPr>
          <p:nvPr>
            <p:ph type="title"/>
          </p:nvPr>
        </p:nvSpPr>
        <p:spPr>
          <a:xfrm>
            <a:off x="400051" y="387882"/>
            <a:ext cx="9976848" cy="566735"/>
          </a:xfrm>
          <a:prstGeom prst="rect">
            <a:avLst/>
          </a:prstGeom>
        </p:spPr>
        <p:txBody>
          <a:bodyPr vert="horz"/>
          <a:lstStyle/>
          <a:p>
            <a:pPr>
              <a:buSzPts val="3000"/>
            </a:pPr>
            <a:r>
              <a:rPr lang="en-US" sz="2700" cap="none" dirty="0">
                <a:solidFill>
                  <a:srgbClr val="164484"/>
                </a:solidFill>
              </a:rPr>
              <a:t>The Bipartisan Infrastructure Law is a once-in-a-generation investment in infrastructure and competitiveness</a:t>
            </a:r>
          </a:p>
        </p:txBody>
      </p:sp>
      <p:sp>
        <p:nvSpPr>
          <p:cNvPr id="19" name="ee4pContent1">
            <a:extLst>
              <a:ext uri="{FF2B5EF4-FFF2-40B4-BE49-F238E27FC236}">
                <a16:creationId xmlns:a16="http://schemas.microsoft.com/office/drawing/2014/main" id="{5426FFAE-EF93-4AF1-BD39-96975341EC10}"/>
              </a:ext>
            </a:extLst>
          </p:cNvPr>
          <p:cNvSpPr txBox="1"/>
          <p:nvPr>
            <p:custDataLst>
              <p:tags r:id="rId3"/>
            </p:custDataLst>
          </p:nvPr>
        </p:nvSpPr>
        <p:spPr>
          <a:xfrm>
            <a:off x="4793648" y="2245478"/>
            <a:ext cx="3268172" cy="26776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SzPct val="100000"/>
              <a:buFont typeface="Trebuchet MS" panose="020B0603020202020204" pitchFamily="34" charset="0"/>
              <a:buChar char="​"/>
              <a:defRPr sz="1200">
                <a:solidFill>
                  <a:srgbClr val="FFFFFF"/>
                </a:solidFill>
              </a:defRPr>
            </a:lvl1pPr>
            <a:lvl2pPr marL="324000" lvl="1" indent="-216000">
              <a:buSzPct val="100000"/>
              <a:buFont typeface="Trebuchet MS" panose="020B0603020202020204" pitchFamily="34" charset="0"/>
              <a:buChar char="•"/>
              <a:defRPr sz="1200">
                <a:solidFill>
                  <a:srgbClr val="FFFFFF"/>
                </a:solidFill>
              </a:defRPr>
            </a:lvl2pPr>
            <a:lvl3pPr marL="648000" lvl="2" indent="-216000">
              <a:buSzPct val="100000"/>
              <a:buFont typeface="Trebuchet MS" panose="020B0603020202020204" pitchFamily="34" charset="0"/>
              <a:buChar char="–"/>
              <a:defRPr sz="1200">
                <a:solidFill>
                  <a:srgbClr val="FFFFFF"/>
                </a:solidFill>
              </a:defRPr>
            </a:lvl3pPr>
            <a:lvl4pPr marL="0" lvl="3">
              <a:buSzPct val="100000"/>
              <a:buFont typeface="Trebuchet MS" panose="020B0603020202020204" pitchFamily="34" charset="0"/>
              <a:buChar char="​"/>
              <a:defRPr sz="1600" b="1">
                <a:solidFill>
                  <a:srgbClr val="00AFF0"/>
                </a:solidFill>
              </a:defRPr>
            </a:lvl4pPr>
            <a:lvl5pPr marL="0" lvl="4">
              <a:buSzPct val="100000"/>
              <a:buFont typeface="Trebuchet MS" panose="020B0603020202020204" pitchFamily="34" charset="0"/>
              <a:buChar char="​"/>
              <a:defRPr sz="1600" b="1">
                <a:solidFill>
                  <a:srgbClr val="FFFFFF"/>
                </a:solidFill>
              </a:defRPr>
            </a:lvl5pPr>
            <a:lvl6pPr marL="324000" lvl="5" indent="-216000">
              <a:buSzPct val="100000"/>
              <a:buFont typeface="Trebuchet MS" panose="020B0603020202020204" pitchFamily="34" charset="0"/>
              <a:buChar char="•"/>
              <a:defRPr sz="1600">
                <a:solidFill>
                  <a:srgbClr val="FFFFFF"/>
                </a:solidFill>
              </a:defRPr>
            </a:lvl6pPr>
            <a:lvl7pPr marL="0" lvl="6">
              <a:buSzPct val="100000"/>
              <a:buFont typeface="Trebuchet MS" panose="020B0603020202020204" pitchFamily="34" charset="0"/>
              <a:buChar char="​"/>
              <a:defRPr sz="4400">
                <a:solidFill>
                  <a:srgbClr val="FFFFFF"/>
                </a:solidFill>
              </a:defRPr>
            </a:lvl7pPr>
            <a:lvl8pPr marL="0" lvl="7">
              <a:buSzPct val="100000"/>
              <a:buFont typeface="Trebuchet MS" panose="020B0603020202020204" pitchFamily="34" charset="0"/>
              <a:buChar char="​"/>
              <a:defRPr sz="5400">
                <a:solidFill>
                  <a:srgbClr val="00AFF0"/>
                </a:solidFill>
              </a:defRPr>
            </a:lvl8pPr>
            <a:lvl9pPr marL="0" lvl="8">
              <a:buSzPct val="100000"/>
              <a:buFont typeface="Trebuchet MS" panose="020B0603020202020204" pitchFamily="34" charset="0"/>
              <a:buChar char="​"/>
              <a:defRPr sz="2400">
                <a:solidFill>
                  <a:srgbClr val="00AFF0"/>
                </a:solidFill>
              </a:defRPr>
            </a:lvl9pPr>
          </a:lstStyle>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Deliver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clean water </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to all families and eliminate the nation's lead service lines</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Ensure every American has access to affordable, reliable,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high-speed Internet</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Repair and rebuild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roads and bridges</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Improve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transportation options </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and reduce greenhouse emissions</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Upgrade our nation’s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airports and ports</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 to strengthen our supply chains</a:t>
            </a:r>
          </a:p>
        </p:txBody>
      </p:sp>
      <p:sp>
        <p:nvSpPr>
          <p:cNvPr id="12" name="ee4pContent1">
            <a:extLst>
              <a:ext uri="{FF2B5EF4-FFF2-40B4-BE49-F238E27FC236}">
                <a16:creationId xmlns:a16="http://schemas.microsoft.com/office/drawing/2014/main" id="{E138B1BA-1600-485B-8AAA-1CC289BF3A53}"/>
              </a:ext>
            </a:extLst>
          </p:cNvPr>
          <p:cNvSpPr txBox="1"/>
          <p:nvPr>
            <p:custDataLst>
              <p:tags r:id="rId4"/>
            </p:custDataLst>
          </p:nvPr>
        </p:nvSpPr>
        <p:spPr>
          <a:xfrm>
            <a:off x="8291862" y="2348002"/>
            <a:ext cx="3268172" cy="267765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SzPct val="100000"/>
              <a:buFont typeface="Trebuchet MS" panose="020B0603020202020204" pitchFamily="34" charset="0"/>
              <a:buChar char="​"/>
              <a:defRPr sz="1200">
                <a:solidFill>
                  <a:srgbClr val="FFFFFF"/>
                </a:solidFill>
              </a:defRPr>
            </a:lvl1pPr>
            <a:lvl2pPr marL="324000" lvl="1" indent="-216000">
              <a:buSzPct val="100000"/>
              <a:buFont typeface="Trebuchet MS" panose="020B0603020202020204" pitchFamily="34" charset="0"/>
              <a:buChar char="•"/>
              <a:defRPr sz="1200">
                <a:solidFill>
                  <a:srgbClr val="FFFFFF"/>
                </a:solidFill>
              </a:defRPr>
            </a:lvl2pPr>
            <a:lvl3pPr marL="648000" lvl="2" indent="-216000">
              <a:buSzPct val="100000"/>
              <a:buFont typeface="Trebuchet MS" panose="020B0603020202020204" pitchFamily="34" charset="0"/>
              <a:buChar char="–"/>
              <a:defRPr sz="1200">
                <a:solidFill>
                  <a:srgbClr val="FFFFFF"/>
                </a:solidFill>
              </a:defRPr>
            </a:lvl3pPr>
            <a:lvl4pPr marL="0" lvl="3">
              <a:buSzPct val="100000"/>
              <a:buFont typeface="Trebuchet MS" panose="020B0603020202020204" pitchFamily="34" charset="0"/>
              <a:buChar char="​"/>
              <a:defRPr sz="1600" b="1">
                <a:solidFill>
                  <a:srgbClr val="00AFF0"/>
                </a:solidFill>
              </a:defRPr>
            </a:lvl4pPr>
            <a:lvl5pPr marL="0" lvl="4">
              <a:buSzPct val="100000"/>
              <a:buFont typeface="Trebuchet MS" panose="020B0603020202020204" pitchFamily="34" charset="0"/>
              <a:buChar char="​"/>
              <a:defRPr sz="1600" b="1">
                <a:solidFill>
                  <a:srgbClr val="FFFFFF"/>
                </a:solidFill>
              </a:defRPr>
            </a:lvl5pPr>
            <a:lvl6pPr marL="324000" lvl="5" indent="-216000">
              <a:buSzPct val="100000"/>
              <a:buFont typeface="Trebuchet MS" panose="020B0603020202020204" pitchFamily="34" charset="0"/>
              <a:buChar char="•"/>
              <a:defRPr sz="1600">
                <a:solidFill>
                  <a:srgbClr val="FFFFFF"/>
                </a:solidFill>
              </a:defRPr>
            </a:lvl6pPr>
            <a:lvl7pPr marL="0" lvl="6">
              <a:buSzPct val="100000"/>
              <a:buFont typeface="Trebuchet MS" panose="020B0603020202020204" pitchFamily="34" charset="0"/>
              <a:buChar char="​"/>
              <a:defRPr sz="4400">
                <a:solidFill>
                  <a:srgbClr val="FFFFFF"/>
                </a:solidFill>
              </a:defRPr>
            </a:lvl7pPr>
            <a:lvl8pPr marL="0" lvl="7">
              <a:buSzPct val="100000"/>
              <a:buFont typeface="Trebuchet MS" panose="020B0603020202020204" pitchFamily="34" charset="0"/>
              <a:buChar char="​"/>
              <a:defRPr sz="5400">
                <a:solidFill>
                  <a:srgbClr val="00AFF0"/>
                </a:solidFill>
              </a:defRPr>
            </a:lvl8pPr>
            <a:lvl9pPr marL="0" lvl="8">
              <a:buSzPct val="100000"/>
              <a:buFont typeface="Trebuchet MS" panose="020B0603020202020204" pitchFamily="34" charset="0"/>
              <a:buChar char="​"/>
              <a:defRPr sz="2400">
                <a:solidFill>
                  <a:srgbClr val="00AFF0"/>
                </a:solidFill>
              </a:defRPr>
            </a:lvl9pPr>
          </a:lstStyle>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Make the largest investment in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passenger rail </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since Amtrak's creation</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Build a national network of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electric vehicle chargers</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Upgrade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power infrastructure </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to deliver clean, reliable energy </a:t>
            </a:r>
          </a:p>
          <a:p>
            <a:pPr marL="259200" lvl="1" indent="-172800">
              <a:spcAft>
                <a:spcPts val="600"/>
              </a:spcAft>
            </a:pP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Make infrastructure resilient </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against the impacts of climate change, cyber-attacks, and extreme weather events</a:t>
            </a:r>
          </a:p>
          <a:p>
            <a:pPr marL="259200" lvl="1" indent="-172800">
              <a:spcAft>
                <a:spcPts val="600"/>
              </a:spcAft>
            </a:pP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Deliver the largest investment in tackling </a:t>
            </a:r>
            <a:r>
              <a:rPr lang="en-US" sz="1400" dirty="0">
                <a:solidFill>
                  <a:srgbClr val="164484"/>
                </a:solidFill>
                <a:latin typeface="Arial" panose="020B0604020202020204" pitchFamily="34" charset="0"/>
                <a:cs typeface="Arial" panose="020B0604020202020204" pitchFamily="34" charset="0"/>
                <a:sym typeface="Arial" panose="020B0604020202020204" pitchFamily="34" charset="0"/>
              </a:rPr>
              <a:t>legacy pollution </a:t>
            </a:r>
            <a:r>
              <a:rPr lang="en-US" sz="1400" dirty="0">
                <a:solidFill>
                  <a:schemeClr val="tx1"/>
                </a:solidFill>
                <a:latin typeface="Arial" panose="020B0604020202020204" pitchFamily="34" charset="0"/>
                <a:cs typeface="Arial" panose="020B0604020202020204" pitchFamily="34" charset="0"/>
                <a:sym typeface="Arial" panose="020B0604020202020204" pitchFamily="34" charset="0"/>
              </a:rPr>
              <a:t>in US history</a:t>
            </a:r>
          </a:p>
        </p:txBody>
      </p:sp>
      <p:grpSp>
        <p:nvGrpSpPr>
          <p:cNvPr id="11" name="Group 10">
            <a:extLst>
              <a:ext uri="{FF2B5EF4-FFF2-40B4-BE49-F238E27FC236}">
                <a16:creationId xmlns:a16="http://schemas.microsoft.com/office/drawing/2014/main" id="{88512D71-2525-4E21-970D-948811517FFD}"/>
              </a:ext>
            </a:extLst>
          </p:cNvPr>
          <p:cNvGrpSpPr/>
          <p:nvPr/>
        </p:nvGrpSpPr>
        <p:grpSpPr>
          <a:xfrm>
            <a:off x="400051" y="1471821"/>
            <a:ext cx="4708461" cy="4000584"/>
            <a:chOff x="3978339" y="1646592"/>
            <a:chExt cx="4708461" cy="4375150"/>
          </a:xfrm>
        </p:grpSpPr>
        <p:sp>
          <p:nvSpPr>
            <p:cNvPr id="4" name="Rectangle 3">
              <a:extLst>
                <a:ext uri="{FF2B5EF4-FFF2-40B4-BE49-F238E27FC236}">
                  <a16:creationId xmlns:a16="http://schemas.microsoft.com/office/drawing/2014/main" id="{EC2CF88B-D605-443C-9D4A-E2BFB7E9FCF8}"/>
                </a:ext>
              </a:extLst>
            </p:cNvPr>
            <p:cNvSpPr/>
            <p:nvPr/>
          </p:nvSpPr>
          <p:spPr>
            <a:xfrm>
              <a:off x="3978339" y="1646592"/>
              <a:ext cx="4239973" cy="4375150"/>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38821"/>
              <a:endParaRPr lang="en-US" sz="120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5" name="Rectangle 4">
              <a:extLst>
                <a:ext uri="{FF2B5EF4-FFF2-40B4-BE49-F238E27FC236}">
                  <a16:creationId xmlns:a16="http://schemas.microsoft.com/office/drawing/2014/main" id="{3985DAC9-398A-4E2C-8F01-AC76F6376389}"/>
                </a:ext>
              </a:extLst>
            </p:cNvPr>
            <p:cNvSpPr/>
            <p:nvPr/>
          </p:nvSpPr>
          <p:spPr>
            <a:xfrm>
              <a:off x="4131963" y="1805112"/>
              <a:ext cx="3932729" cy="4058109"/>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38821"/>
              <a:endParaRPr lang="en-US" sz="120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6" name="Right Triangle 5">
              <a:extLst>
                <a:ext uri="{FF2B5EF4-FFF2-40B4-BE49-F238E27FC236}">
                  <a16:creationId xmlns:a16="http://schemas.microsoft.com/office/drawing/2014/main" id="{82C8AD51-5BB8-481C-8F00-A0F583CD98A8}"/>
                </a:ext>
              </a:extLst>
            </p:cNvPr>
            <p:cNvSpPr/>
            <p:nvPr/>
          </p:nvSpPr>
          <p:spPr>
            <a:xfrm>
              <a:off x="8218312" y="1646592"/>
              <a:ext cx="468488" cy="380448"/>
            </a:xfrm>
            <a:prstGeom prst="rtTriangle">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38821"/>
              <a:endParaRPr lang="en-US" sz="120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8" name="Right Triangle 7">
              <a:extLst>
                <a:ext uri="{FF2B5EF4-FFF2-40B4-BE49-F238E27FC236}">
                  <a16:creationId xmlns:a16="http://schemas.microsoft.com/office/drawing/2014/main" id="{0F7672AD-7EE7-446C-8010-CB3620ABC414}"/>
                </a:ext>
              </a:extLst>
            </p:cNvPr>
            <p:cNvSpPr/>
            <p:nvPr/>
          </p:nvSpPr>
          <p:spPr>
            <a:xfrm flipV="1">
              <a:off x="8218311" y="5641294"/>
              <a:ext cx="468488" cy="380448"/>
            </a:xfrm>
            <a:prstGeom prst="rtTriangle">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38821"/>
              <a:endParaRPr lang="en-US" sz="120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0" name="Title 2">
              <a:extLst>
                <a:ext uri="{FF2B5EF4-FFF2-40B4-BE49-F238E27FC236}">
                  <a16:creationId xmlns:a16="http://schemas.microsoft.com/office/drawing/2014/main" id="{F7266888-CE4C-458B-8FE3-4FF02F54EFCF}"/>
                </a:ext>
              </a:extLst>
            </p:cNvPr>
            <p:cNvSpPr txBox="1">
              <a:spLocks/>
            </p:cNvSpPr>
            <p:nvPr/>
          </p:nvSpPr>
          <p:spPr>
            <a:xfrm>
              <a:off x="4203082" y="1814005"/>
              <a:ext cx="3815126" cy="3904479"/>
            </a:xfrm>
            <a:prstGeom prst="rect">
              <a:avLst/>
            </a:prstGeom>
          </p:spPr>
          <p:txBody>
            <a:bodyPr vert="horz" wrap="square">
              <a:sp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lang="en-US" dirty="0">
                  <a:solidFill>
                    <a:srgbClr val="164484"/>
                  </a:solidFill>
                  <a:latin typeface="Arial" panose="020B0604020202020204" pitchFamily="34" charset="0"/>
                  <a:cs typeface="Arial" panose="020B0604020202020204" pitchFamily="34" charset="0"/>
                  <a:sym typeface="Arial" panose="020B0604020202020204" pitchFamily="34" charset="0"/>
                </a:rPr>
                <a:t>Bipartisan Infrastructure Law</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panose="020B0604020202020204"/>
                  <a:ea typeface="+mn-ea"/>
                  <a:cs typeface="+mn-cs"/>
                </a:rPr>
                <a:t>Otherwise known as the Infrastructure Investment and Jobs Act, a $1.2T bill passed by Congress and signed into law by President Biden on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November 15, 2021</a:t>
              </a:r>
              <a:endParaRPr lang="en-US" sz="1400" b="0" dirty="0">
                <a:solidFill>
                  <a:srgbClr val="000000"/>
                </a:solidFill>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Largest ever investments in high-speed Internet, rail and transit, clean energy, and water</a:t>
              </a:r>
              <a:endParaRPr lang="en-US" sz="1400" b="0" dirty="0">
                <a:solidFill>
                  <a:srgbClr val="000000"/>
                </a:solidFill>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Allocated funding to over 350 distinct programs across more than a dozen federal departments and agencies</a:t>
              </a:r>
            </a:p>
          </p:txBody>
        </p:sp>
      </p:grpSp>
      <p:sp>
        <p:nvSpPr>
          <p:cNvPr id="20" name="Rectangle 19">
            <a:extLst>
              <a:ext uri="{FF2B5EF4-FFF2-40B4-BE49-F238E27FC236}">
                <a16:creationId xmlns:a16="http://schemas.microsoft.com/office/drawing/2014/main" id="{28C3551F-013A-4DA0-99B5-7CE28BAE3357}"/>
              </a:ext>
            </a:extLst>
          </p:cNvPr>
          <p:cNvSpPr/>
          <p:nvPr/>
        </p:nvSpPr>
        <p:spPr>
          <a:xfrm>
            <a:off x="4640023" y="1819698"/>
            <a:ext cx="6992333" cy="3304830"/>
          </a:xfrm>
          <a:prstGeom prst="rect">
            <a:avLst/>
          </a:prstGeom>
          <a:noFill/>
          <a:ln w="9525" cap="rnd" cmpd="sng" algn="ctr">
            <a:solidFill>
              <a:srgbClr val="0A3161"/>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38821"/>
            <a:endParaRPr lang="en-US" sz="120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DEB776A1-FAFA-4998-A100-A803D63A5539}"/>
              </a:ext>
            </a:extLst>
          </p:cNvPr>
          <p:cNvSpPr/>
          <p:nvPr/>
        </p:nvSpPr>
        <p:spPr>
          <a:xfrm>
            <a:off x="5656955" y="1595999"/>
            <a:ext cx="5362028" cy="518216"/>
          </a:xfrm>
          <a:prstGeom prst="rect">
            <a:avLst/>
          </a:prstGeom>
          <a:solidFill>
            <a:srgbClr val="FFFFFF"/>
          </a:solidFill>
          <a:ln w="28575"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lnSpc>
                <a:spcPct val="90000"/>
              </a:lnSpc>
            </a:pPr>
            <a:r>
              <a:rPr lang="en-US" sz="2400" kern="0" dirty="0">
                <a:solidFill>
                  <a:srgbClr val="164484"/>
                </a:solidFill>
                <a:latin typeface="Arial" panose="020B0604020202020204" pitchFamily="34" charset="0"/>
                <a:cs typeface="Arial" panose="020B0604020202020204" pitchFamily="34" charset="0"/>
                <a:sym typeface="Arial" panose="020B0604020202020204" pitchFamily="34" charset="0"/>
              </a:rPr>
              <a:t>This historic legislation will:</a:t>
            </a:r>
          </a:p>
        </p:txBody>
      </p:sp>
      <p:sp>
        <p:nvSpPr>
          <p:cNvPr id="23" name="Rectangle 22">
            <a:extLst>
              <a:ext uri="{FF2B5EF4-FFF2-40B4-BE49-F238E27FC236}">
                <a16:creationId xmlns:a16="http://schemas.microsoft.com/office/drawing/2014/main" id="{0B5CC02E-397D-4F7A-9266-A67A3000D5F0}"/>
              </a:ext>
            </a:extLst>
          </p:cNvPr>
          <p:cNvSpPr/>
          <p:nvPr/>
        </p:nvSpPr>
        <p:spPr>
          <a:xfrm>
            <a:off x="400051" y="5581505"/>
            <a:ext cx="11232305" cy="362095"/>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38821"/>
            <a:r>
              <a:rPr lang="en-US" sz="1600" dirty="0">
                <a:solidFill>
                  <a:srgbClr val="FFFFFF"/>
                </a:solidFill>
                <a:latin typeface="Arial" panose="020B0604020202020204" pitchFamily="34" charset="0"/>
                <a:cs typeface="Arial" panose="020B0604020202020204" pitchFamily="34" charset="0"/>
                <a:sym typeface="Arial" panose="020B0604020202020204" pitchFamily="34" charset="0"/>
              </a:rPr>
              <a:t>Please see </a:t>
            </a:r>
            <a:r>
              <a:rPr lang="en-US" sz="1600" dirty="0">
                <a:solidFill>
                  <a:srgbClr val="FFFFFF"/>
                </a:solidFill>
                <a:latin typeface="Arial" panose="020B0604020202020204" pitchFamily="34" charset="0"/>
                <a:cs typeface="Arial" panose="020B0604020202020204" pitchFamily="34" charset="0"/>
                <a:sym typeface="Arial" panose="020B0604020202020204" pitchFamily="34" charset="0"/>
                <a:hlinkClick r:id="rId9"/>
              </a:rPr>
              <a:t>Build.gov</a:t>
            </a:r>
            <a:r>
              <a:rPr lang="en-US" sz="1600" dirty="0">
                <a:solidFill>
                  <a:srgbClr val="FFFFFF"/>
                </a:solidFill>
                <a:latin typeface="Arial" panose="020B0604020202020204" pitchFamily="34" charset="0"/>
                <a:cs typeface="Arial" panose="020B0604020202020204" pitchFamily="34" charset="0"/>
                <a:sym typeface="Arial" panose="020B0604020202020204" pitchFamily="34" charset="0"/>
              </a:rPr>
              <a:t> for more details on the Bipartisan Infrastructure Law</a:t>
            </a:r>
          </a:p>
        </p:txBody>
      </p:sp>
    </p:spTree>
    <p:extLst>
      <p:ext uri="{BB962C8B-B14F-4D97-AF65-F5344CB8AC3E}">
        <p14:creationId xmlns:p14="http://schemas.microsoft.com/office/powerpoint/2010/main" val="3620345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424D5-498D-4FFC-B4DF-72A85AB9D72A}"/>
              </a:ext>
            </a:extLst>
          </p:cNvPr>
          <p:cNvGraphicFramePr>
            <a:graphicFrameLocks noChangeAspect="1"/>
          </p:cNvGraphicFramePr>
          <p:nvPr>
            <p:custDataLst>
              <p:tags r:id="rId2"/>
            </p:custDataLst>
            <p:extLst>
              <p:ext uri="{D42A27DB-BD31-4B8C-83A1-F6EECF244321}">
                <p14:modId xmlns:p14="http://schemas.microsoft.com/office/powerpoint/2010/main" val="275287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0" name="think-cell Slide" r:id="rId8" imgW="395" imgH="396" progId="TCLayout.ActiveDocument.1">
                  <p:embed/>
                </p:oleObj>
              </mc:Choice>
              <mc:Fallback>
                <p:oleObj name="think-cell Slide" r:id="rId8" imgW="395" imgH="396" progId="TCLayout.ActiveDocument.1">
                  <p:embed/>
                  <p:pic>
                    <p:nvPicPr>
                      <p:cNvPr id="3" name="Object 2" hidden="1">
                        <a:extLst>
                          <a:ext uri="{FF2B5EF4-FFF2-40B4-BE49-F238E27FC236}">
                            <a16:creationId xmlns:a16="http://schemas.microsoft.com/office/drawing/2014/main" id="{F98424D5-498D-4FFC-B4DF-72A85AB9D72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400051" y="387882"/>
            <a:ext cx="9976848" cy="566735"/>
          </a:xfrm>
        </p:spPr>
        <p:txBody>
          <a:bodyPr vert="horz"/>
          <a:lstStyle/>
          <a:p>
            <a:pPr>
              <a:buSzPts val="3000"/>
            </a:pPr>
            <a:r>
              <a:rPr lang="en-US" sz="2700" cap="none" dirty="0">
                <a:solidFill>
                  <a:srgbClr val="164484"/>
                </a:solidFill>
              </a:rPr>
              <a:t>The Bipartisan Infrastructure Law invests ~$65B to ensure everyone in America has access to high-speed Internet</a:t>
            </a:r>
          </a:p>
        </p:txBody>
      </p:sp>
      <p:sp>
        <p:nvSpPr>
          <p:cNvPr id="17" name="Rectangle 16">
            <a:extLst>
              <a:ext uri="{FF2B5EF4-FFF2-40B4-BE49-F238E27FC236}">
                <a16:creationId xmlns:a16="http://schemas.microsoft.com/office/drawing/2014/main" id="{03494E8F-5FD4-4A00-BE4F-04AB3864A426}"/>
              </a:ext>
            </a:extLst>
          </p:cNvPr>
          <p:cNvSpPr/>
          <p:nvPr/>
        </p:nvSpPr>
        <p:spPr>
          <a:xfrm>
            <a:off x="1938903" y="1772677"/>
            <a:ext cx="3506857"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ea typeface="+mn-ea"/>
                <a:cs typeface="+mn-cs"/>
              </a:rPr>
              <a:t>Goal is to build infrastructure that provides reliable </a:t>
            </a:r>
            <a:r>
              <a:rPr kumimoji="0" lang="en-US" i="0" u="none" strike="noStrike" kern="1200" cap="none" spc="0" normalizeH="0" baseline="0" noProof="0" dirty="0">
                <a:ln>
                  <a:noFill/>
                </a:ln>
                <a:solidFill>
                  <a:srgbClr val="000000"/>
                </a:solidFill>
                <a:effectLst/>
                <a:uLnTx/>
                <a:uFillTx/>
                <a:ea typeface="+mn-ea"/>
                <a:cs typeface="+mn-cs"/>
              </a:rPr>
              <a:t>high-speed Internet </a:t>
            </a:r>
            <a:r>
              <a:rPr kumimoji="0" lang="en-US" b="1" i="0" u="none" strike="noStrike" kern="1200" cap="none" spc="0" normalizeH="0" baseline="0" noProof="0" dirty="0">
                <a:ln>
                  <a:noFill/>
                </a:ln>
                <a:solidFill>
                  <a:srgbClr val="164484"/>
                </a:solidFill>
                <a:effectLst/>
                <a:uLnTx/>
                <a:uFillTx/>
                <a:ea typeface="+mn-ea"/>
                <a:cs typeface="+mn-cs"/>
              </a:rPr>
              <a:t>access </a:t>
            </a:r>
            <a:r>
              <a:rPr lang="en-US" dirty="0">
                <a:solidFill>
                  <a:srgbClr val="000000"/>
                </a:solidFill>
              </a:rPr>
              <a:t>to all Americans </a:t>
            </a:r>
            <a:r>
              <a:rPr lang="en-US" b="1" dirty="0">
                <a:solidFill>
                  <a:srgbClr val="164484"/>
                </a:solidFill>
              </a:rPr>
              <a:t>for today and tomorrow…</a:t>
            </a:r>
          </a:p>
        </p:txBody>
      </p:sp>
      <p:sp>
        <p:nvSpPr>
          <p:cNvPr id="18" name="Rectangle 17">
            <a:extLst>
              <a:ext uri="{FF2B5EF4-FFF2-40B4-BE49-F238E27FC236}">
                <a16:creationId xmlns:a16="http://schemas.microsoft.com/office/drawing/2014/main" id="{BE64216A-8D02-4444-A36D-7849604DD255}"/>
              </a:ext>
            </a:extLst>
          </p:cNvPr>
          <p:cNvSpPr/>
          <p:nvPr/>
        </p:nvSpPr>
        <p:spPr>
          <a:xfrm>
            <a:off x="1986527" y="2721802"/>
            <a:ext cx="3506857" cy="1477328"/>
          </a:xfrm>
          <a:prstGeom prst="rect">
            <a:avLst/>
          </a:prstGeom>
        </p:spPr>
        <p:txBody>
          <a:bodyPr wrap="square" lIns="91440" tIns="45720" rIns="91440" bIns="45720" anchor="t">
            <a:spAutoFit/>
          </a:bodyPr>
          <a:lstStyle/>
          <a:p>
            <a:pPr>
              <a:defRPr/>
            </a:pPr>
            <a:br>
              <a:rPr lang="en-US" dirty="0"/>
            </a:br>
            <a:r>
              <a:rPr lang="en-US" dirty="0">
                <a:ea typeface="+mn-lt"/>
                <a:cs typeface="+mn-lt"/>
              </a:rPr>
              <a:t>...</a:t>
            </a:r>
            <a:r>
              <a:rPr kumimoji="0" lang="en-US" b="0" i="0" u="none" strike="noStrike" kern="1200" cap="none" spc="0" normalizeH="0" baseline="0" noProof="0" dirty="0">
                <a:ln>
                  <a:noFill/>
                </a:ln>
                <a:effectLst/>
                <a:uLnTx/>
                <a:uFillTx/>
                <a:ea typeface="+mn-lt"/>
                <a:cs typeface="+mn-lt"/>
              </a:rPr>
              <a:t>with a focus on </a:t>
            </a:r>
            <a:r>
              <a:rPr lang="en-US" dirty="0">
                <a:ea typeface="+mn-lt"/>
                <a:cs typeface="+mn-lt"/>
              </a:rPr>
              <a:t>making high-speed Internet </a:t>
            </a:r>
            <a:r>
              <a:rPr lang="en-US" b="1" dirty="0">
                <a:solidFill>
                  <a:srgbClr val="164484"/>
                </a:solidFill>
                <a:ea typeface="+mn-lt"/>
                <a:cs typeface="+mn-lt"/>
              </a:rPr>
              <a:t>affordable </a:t>
            </a:r>
            <a:r>
              <a:rPr lang="en-US" dirty="0">
                <a:ea typeface="+mn-lt"/>
                <a:cs typeface="+mn-lt"/>
              </a:rPr>
              <a:t>and </a:t>
            </a:r>
            <a:r>
              <a:rPr lang="en-US" b="1" dirty="0">
                <a:solidFill>
                  <a:srgbClr val="164484"/>
                </a:solidFill>
                <a:ea typeface="+mn-lt"/>
                <a:cs typeface="+mn-lt"/>
              </a:rPr>
              <a:t>reliable </a:t>
            </a:r>
            <a:r>
              <a:rPr lang="en-US" dirty="0">
                <a:ea typeface="+mn-lt"/>
                <a:cs typeface="+mn-lt"/>
              </a:rPr>
              <a:t>so </a:t>
            </a:r>
            <a:r>
              <a:rPr lang="en-US" b="1" dirty="0">
                <a:solidFill>
                  <a:srgbClr val="164484"/>
                </a:solidFill>
                <a:ea typeface="+mn-lt"/>
                <a:cs typeface="+mn-lt"/>
              </a:rPr>
              <a:t>everyone </a:t>
            </a:r>
            <a:r>
              <a:rPr lang="en-US" dirty="0">
                <a:ea typeface="+mn-lt"/>
                <a:cs typeface="+mn-lt"/>
              </a:rPr>
              <a:t>can participate in the economy...</a:t>
            </a:r>
            <a:endParaRPr lang="en-US" dirty="0"/>
          </a:p>
        </p:txBody>
      </p:sp>
      <p:sp>
        <p:nvSpPr>
          <p:cNvPr id="19" name="Rectangle 18">
            <a:extLst>
              <a:ext uri="{FF2B5EF4-FFF2-40B4-BE49-F238E27FC236}">
                <a16:creationId xmlns:a16="http://schemas.microsoft.com/office/drawing/2014/main" id="{8CC11E22-4B94-47C2-A47F-04786A3C92B9}"/>
              </a:ext>
            </a:extLst>
          </p:cNvPr>
          <p:cNvSpPr/>
          <p:nvPr/>
        </p:nvSpPr>
        <p:spPr>
          <a:xfrm>
            <a:off x="1938903" y="4281588"/>
            <a:ext cx="3506857" cy="1477328"/>
          </a:xfrm>
          <a:prstGeom prst="rect">
            <a:avLst/>
          </a:prstGeom>
        </p:spPr>
        <p:txBody>
          <a:bodyPr wrap="square" lIns="91440" tIns="45720" rIns="91440" bIns="45720" anchor="t">
            <a:spAutoFit/>
          </a:bodyPr>
          <a:lstStyle/>
          <a:p>
            <a:pPr>
              <a:defRPr/>
            </a:pPr>
            <a:r>
              <a:rPr lang="en-US" dirty="0">
                <a:ea typeface="+mn-lt"/>
                <a:cs typeface="+mn-lt"/>
              </a:rPr>
              <a:t>... and providing the resources needed </a:t>
            </a:r>
            <a:r>
              <a:rPr kumimoji="0" lang="en-US" b="0" i="0" u="none" strike="noStrike" kern="1200" cap="none" spc="0" normalizeH="0" baseline="0" noProof="0" dirty="0">
                <a:ln>
                  <a:noFill/>
                </a:ln>
                <a:effectLst/>
                <a:uLnTx/>
                <a:uFillTx/>
                <a:ea typeface="+mn-lt"/>
                <a:cs typeface="+mn-lt"/>
              </a:rPr>
              <a:t>to </a:t>
            </a:r>
            <a:r>
              <a:rPr lang="en-US" b="1" dirty="0">
                <a:solidFill>
                  <a:srgbClr val="164484"/>
                </a:solidFill>
                <a:ea typeface="+mn-lt"/>
                <a:cs typeface="+mn-lt"/>
              </a:rPr>
              <a:t>equitably </a:t>
            </a:r>
            <a:r>
              <a:rPr lang="en-US" dirty="0">
                <a:ea typeface="+mn-lt"/>
                <a:cs typeface="+mn-lt"/>
              </a:rPr>
              <a:t>expand the adoption and use of the Internet so </a:t>
            </a:r>
            <a:r>
              <a:rPr lang="en-US" b="1" dirty="0">
                <a:solidFill>
                  <a:srgbClr val="164484"/>
                </a:solidFill>
                <a:ea typeface="+mn-lt"/>
                <a:cs typeface="+mn-lt"/>
              </a:rPr>
              <a:t>everyone </a:t>
            </a:r>
            <a:r>
              <a:rPr lang="en-US" dirty="0">
                <a:ea typeface="+mn-lt"/>
                <a:cs typeface="+mn-lt"/>
              </a:rPr>
              <a:t>can experience the benefits</a:t>
            </a:r>
            <a:r>
              <a:rPr kumimoji="0" lang="en-US" b="0" i="0" u="none" strike="noStrike" kern="1200" cap="none" spc="0" normalizeH="0" baseline="0" noProof="0" dirty="0">
                <a:ln>
                  <a:noFill/>
                </a:ln>
                <a:effectLst/>
                <a:uLnTx/>
                <a:uFillTx/>
                <a:ea typeface="+mn-lt"/>
                <a:cs typeface="+mn-lt"/>
              </a:rPr>
              <a:t>.</a:t>
            </a:r>
            <a:r>
              <a:rPr lang="en-US" dirty="0">
                <a:ea typeface="+mn-lt"/>
                <a:cs typeface="+mn-lt"/>
              </a:rPr>
              <a:t> </a:t>
            </a:r>
            <a:endParaRPr lang="en-US">
              <a:ea typeface="+mn-ea"/>
              <a:cs typeface="+mn-cs"/>
            </a:endParaRPr>
          </a:p>
        </p:txBody>
      </p:sp>
      <p:sp>
        <p:nvSpPr>
          <p:cNvPr id="41" name="Oval 40">
            <a:extLst>
              <a:ext uri="{FF2B5EF4-FFF2-40B4-BE49-F238E27FC236}">
                <a16:creationId xmlns:a16="http://schemas.microsoft.com/office/drawing/2014/main" id="{1D0CB3DF-CF88-47BB-9140-9CC50B129172}"/>
              </a:ext>
            </a:extLst>
          </p:cNvPr>
          <p:cNvSpPr/>
          <p:nvPr>
            <p:custDataLst>
              <p:tags r:id="rId3"/>
            </p:custDataLst>
          </p:nvPr>
        </p:nvSpPr>
        <p:spPr>
          <a:xfrm>
            <a:off x="395927" y="1656564"/>
            <a:ext cx="1432556" cy="1432555"/>
          </a:xfrm>
          <a:prstGeom prst="ellipse">
            <a:avLst/>
          </a:prstGeom>
          <a:solidFill>
            <a:srgbClr val="FFFFFF"/>
          </a:solidFill>
          <a:ln w="3810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sp>
        <p:nvSpPr>
          <p:cNvPr id="43" name="Oval 42">
            <a:extLst>
              <a:ext uri="{FF2B5EF4-FFF2-40B4-BE49-F238E27FC236}">
                <a16:creationId xmlns:a16="http://schemas.microsoft.com/office/drawing/2014/main" id="{16F70470-C7C6-421D-A0E2-11928EAB5B58}"/>
              </a:ext>
            </a:extLst>
          </p:cNvPr>
          <p:cNvSpPr/>
          <p:nvPr>
            <p:custDataLst>
              <p:tags r:id="rId4"/>
            </p:custDataLst>
          </p:nvPr>
        </p:nvSpPr>
        <p:spPr>
          <a:xfrm>
            <a:off x="395726" y="2975190"/>
            <a:ext cx="1433937" cy="1432555"/>
          </a:xfrm>
          <a:prstGeom prst="ellipse">
            <a:avLst/>
          </a:prstGeom>
          <a:solidFill>
            <a:srgbClr val="FFFFFF"/>
          </a:solidFill>
          <a:ln w="3810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grpSp>
        <p:nvGrpSpPr>
          <p:cNvPr id="45" name="Group 44">
            <a:extLst>
              <a:ext uri="{FF2B5EF4-FFF2-40B4-BE49-F238E27FC236}">
                <a16:creationId xmlns:a16="http://schemas.microsoft.com/office/drawing/2014/main" id="{4A070C37-5FF6-4966-99DD-E56E2870445B}"/>
              </a:ext>
            </a:extLst>
          </p:cNvPr>
          <p:cNvGrpSpPr>
            <a:grpSpLocks noChangeAspect="1"/>
          </p:cNvGrpSpPr>
          <p:nvPr/>
        </p:nvGrpSpPr>
        <p:grpSpPr>
          <a:xfrm>
            <a:off x="605721" y="1856197"/>
            <a:ext cx="1012970" cy="1012969"/>
            <a:chOff x="5273675" y="2570163"/>
            <a:chExt cx="1646238" cy="1646237"/>
          </a:xfrm>
        </p:grpSpPr>
        <p:sp>
          <p:nvSpPr>
            <p:cNvPr id="57" name="AutoShape 40">
              <a:extLst>
                <a:ext uri="{FF2B5EF4-FFF2-40B4-BE49-F238E27FC236}">
                  <a16:creationId xmlns:a16="http://schemas.microsoft.com/office/drawing/2014/main" id="{AC650A91-7CD1-4938-A3E6-3A211F561313}"/>
                </a:ext>
              </a:extLst>
            </p:cNvPr>
            <p:cNvSpPr>
              <a:spLocks noChangeAspect="1" noChangeArrowheads="1" noTextEdit="1"/>
            </p:cNvSpPr>
            <p:nvPr/>
          </p:nvSpPr>
          <p:spPr bwMode="auto">
            <a:xfrm>
              <a:off x="5273675" y="2570163"/>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8" name="Group 57">
              <a:extLst>
                <a:ext uri="{FF2B5EF4-FFF2-40B4-BE49-F238E27FC236}">
                  <a16:creationId xmlns:a16="http://schemas.microsoft.com/office/drawing/2014/main" id="{FF23BCFF-0910-4ACA-8A57-ADCD943F64DF}"/>
                </a:ext>
              </a:extLst>
            </p:cNvPr>
            <p:cNvGrpSpPr/>
            <p:nvPr/>
          </p:nvGrpSpPr>
          <p:grpSpPr>
            <a:xfrm>
              <a:off x="5424488" y="2741613"/>
              <a:ext cx="1347788" cy="1303337"/>
              <a:chOff x="5424488" y="2741613"/>
              <a:chExt cx="1347788" cy="1303337"/>
            </a:xfrm>
          </p:grpSpPr>
          <p:sp>
            <p:nvSpPr>
              <p:cNvPr id="59" name="Freeform 42">
                <a:extLst>
                  <a:ext uri="{FF2B5EF4-FFF2-40B4-BE49-F238E27FC236}">
                    <a16:creationId xmlns:a16="http://schemas.microsoft.com/office/drawing/2014/main" id="{4098093F-73FF-4E93-AB7A-8C2FC8C40699}"/>
                  </a:ext>
                </a:extLst>
              </p:cNvPr>
              <p:cNvSpPr>
                <a:spLocks noEditPoints="1"/>
              </p:cNvSpPr>
              <p:nvPr/>
            </p:nvSpPr>
            <p:spPr bwMode="auto">
              <a:xfrm>
                <a:off x="5424488" y="2967038"/>
                <a:ext cx="1347788" cy="573087"/>
              </a:xfrm>
              <a:custGeom>
                <a:avLst/>
                <a:gdLst>
                  <a:gd name="T0" fmla="*/ 119 w 1886"/>
                  <a:gd name="T1" fmla="*/ 42 h 802"/>
                  <a:gd name="T2" fmla="*/ 45 w 1886"/>
                  <a:gd name="T3" fmla="*/ 116 h 802"/>
                  <a:gd name="T4" fmla="*/ 45 w 1886"/>
                  <a:gd name="T5" fmla="*/ 685 h 802"/>
                  <a:gd name="T6" fmla="*/ 119 w 1886"/>
                  <a:gd name="T7" fmla="*/ 760 h 802"/>
                  <a:gd name="T8" fmla="*/ 1584 w 1886"/>
                  <a:gd name="T9" fmla="*/ 760 h 802"/>
                  <a:gd name="T10" fmla="*/ 1646 w 1886"/>
                  <a:gd name="T11" fmla="*/ 724 h 802"/>
                  <a:gd name="T12" fmla="*/ 1823 w 1886"/>
                  <a:gd name="T13" fmla="*/ 440 h 802"/>
                  <a:gd name="T14" fmla="*/ 1823 w 1886"/>
                  <a:gd name="T15" fmla="*/ 361 h 802"/>
                  <a:gd name="T16" fmla="*/ 1646 w 1886"/>
                  <a:gd name="T17" fmla="*/ 77 h 802"/>
                  <a:gd name="T18" fmla="*/ 1584 w 1886"/>
                  <a:gd name="T19" fmla="*/ 42 h 802"/>
                  <a:gd name="T20" fmla="*/ 119 w 1886"/>
                  <a:gd name="T21" fmla="*/ 42 h 802"/>
                  <a:gd name="T22" fmla="*/ 118 w 1886"/>
                  <a:gd name="T23" fmla="*/ 0 h 802"/>
                  <a:gd name="T24" fmla="*/ 1586 w 1886"/>
                  <a:gd name="T25" fmla="*/ 0 h 802"/>
                  <a:gd name="T26" fmla="*/ 1686 w 1886"/>
                  <a:gd name="T27" fmla="*/ 55 h 802"/>
                  <a:gd name="T28" fmla="*/ 1862 w 1886"/>
                  <a:gd name="T29" fmla="*/ 338 h 802"/>
                  <a:gd name="T30" fmla="*/ 1862 w 1886"/>
                  <a:gd name="T31" fmla="*/ 463 h 802"/>
                  <a:gd name="T32" fmla="*/ 1686 w 1886"/>
                  <a:gd name="T33" fmla="*/ 746 h 802"/>
                  <a:gd name="T34" fmla="*/ 1586 w 1886"/>
                  <a:gd name="T35" fmla="*/ 802 h 802"/>
                  <a:gd name="T36" fmla="*/ 118 w 1886"/>
                  <a:gd name="T37" fmla="*/ 802 h 802"/>
                  <a:gd name="T38" fmla="*/ 0 w 1886"/>
                  <a:gd name="T39" fmla="*/ 684 h 802"/>
                  <a:gd name="T40" fmla="*/ 0 w 1886"/>
                  <a:gd name="T41" fmla="*/ 117 h 802"/>
                  <a:gd name="T42" fmla="*/ 118 w 1886"/>
                  <a:gd name="T43"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86" h="802">
                    <a:moveTo>
                      <a:pt x="119" y="42"/>
                    </a:moveTo>
                    <a:cubicBezTo>
                      <a:pt x="78" y="42"/>
                      <a:pt x="45" y="75"/>
                      <a:pt x="45" y="116"/>
                    </a:cubicBezTo>
                    <a:cubicBezTo>
                      <a:pt x="45" y="685"/>
                      <a:pt x="45" y="685"/>
                      <a:pt x="45" y="685"/>
                    </a:cubicBezTo>
                    <a:cubicBezTo>
                      <a:pt x="45" y="726"/>
                      <a:pt x="78" y="760"/>
                      <a:pt x="119" y="760"/>
                    </a:cubicBezTo>
                    <a:cubicBezTo>
                      <a:pt x="1584" y="760"/>
                      <a:pt x="1584" y="760"/>
                      <a:pt x="1584" y="760"/>
                    </a:cubicBezTo>
                    <a:cubicBezTo>
                      <a:pt x="1609" y="760"/>
                      <a:pt x="1633" y="747"/>
                      <a:pt x="1646" y="724"/>
                    </a:cubicBezTo>
                    <a:cubicBezTo>
                      <a:pt x="1823" y="440"/>
                      <a:pt x="1823" y="440"/>
                      <a:pt x="1823" y="440"/>
                    </a:cubicBezTo>
                    <a:cubicBezTo>
                      <a:pt x="1837" y="416"/>
                      <a:pt x="1837" y="385"/>
                      <a:pt x="1823" y="361"/>
                    </a:cubicBezTo>
                    <a:cubicBezTo>
                      <a:pt x="1646" y="77"/>
                      <a:pt x="1646" y="77"/>
                      <a:pt x="1646" y="77"/>
                    </a:cubicBezTo>
                    <a:cubicBezTo>
                      <a:pt x="1633" y="55"/>
                      <a:pt x="1609" y="42"/>
                      <a:pt x="1584" y="42"/>
                    </a:cubicBezTo>
                    <a:cubicBezTo>
                      <a:pt x="119" y="42"/>
                      <a:pt x="119" y="42"/>
                      <a:pt x="119" y="42"/>
                    </a:cubicBezTo>
                    <a:close/>
                    <a:moveTo>
                      <a:pt x="118" y="0"/>
                    </a:moveTo>
                    <a:cubicBezTo>
                      <a:pt x="1586" y="0"/>
                      <a:pt x="1586" y="0"/>
                      <a:pt x="1586" y="0"/>
                    </a:cubicBezTo>
                    <a:cubicBezTo>
                      <a:pt x="1627" y="0"/>
                      <a:pt x="1664" y="21"/>
                      <a:pt x="1686" y="55"/>
                    </a:cubicBezTo>
                    <a:cubicBezTo>
                      <a:pt x="1862" y="338"/>
                      <a:pt x="1862" y="338"/>
                      <a:pt x="1862" y="338"/>
                    </a:cubicBezTo>
                    <a:cubicBezTo>
                      <a:pt x="1886" y="376"/>
                      <a:pt x="1886" y="425"/>
                      <a:pt x="1862" y="463"/>
                    </a:cubicBezTo>
                    <a:cubicBezTo>
                      <a:pt x="1686" y="746"/>
                      <a:pt x="1686" y="746"/>
                      <a:pt x="1686" y="746"/>
                    </a:cubicBezTo>
                    <a:cubicBezTo>
                      <a:pt x="1664" y="781"/>
                      <a:pt x="1627" y="802"/>
                      <a:pt x="1586" y="802"/>
                    </a:cubicBezTo>
                    <a:cubicBezTo>
                      <a:pt x="118" y="802"/>
                      <a:pt x="118" y="802"/>
                      <a:pt x="118" y="802"/>
                    </a:cubicBezTo>
                    <a:cubicBezTo>
                      <a:pt x="53" y="802"/>
                      <a:pt x="0" y="749"/>
                      <a:pt x="0" y="684"/>
                    </a:cubicBezTo>
                    <a:cubicBezTo>
                      <a:pt x="0" y="117"/>
                      <a:pt x="0" y="117"/>
                      <a:pt x="0" y="117"/>
                    </a:cubicBezTo>
                    <a:cubicBezTo>
                      <a:pt x="0" y="52"/>
                      <a:pt x="53" y="0"/>
                      <a:pt x="118" y="0"/>
                    </a:cubicBezTo>
                    <a:close/>
                  </a:path>
                </a:pathLst>
              </a:custGeom>
              <a:solidFill>
                <a:srgbClr val="0F243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27">
                <a:extLst>
                  <a:ext uri="{FF2B5EF4-FFF2-40B4-BE49-F238E27FC236}">
                    <a16:creationId xmlns:a16="http://schemas.microsoft.com/office/drawing/2014/main" id="{7A25EAB7-522C-41B1-99E1-96388D64DAA3}"/>
                  </a:ext>
                </a:extLst>
              </p:cNvPr>
              <p:cNvSpPr>
                <a:spLocks/>
              </p:cNvSpPr>
              <p:nvPr/>
            </p:nvSpPr>
            <p:spPr bwMode="auto">
              <a:xfrm>
                <a:off x="5514975" y="2741613"/>
                <a:ext cx="1076325" cy="1303337"/>
              </a:xfrm>
              <a:custGeom>
                <a:avLst/>
                <a:gdLst>
                  <a:gd name="connsiteX0" fmla="*/ 581026 w 1076325"/>
                  <a:gd name="connsiteY0" fmla="*/ 876300 h 1303337"/>
                  <a:gd name="connsiteX1" fmla="*/ 541338 w 1076325"/>
                  <a:gd name="connsiteY1" fmla="*/ 915988 h 1303337"/>
                  <a:gd name="connsiteX2" fmla="*/ 581026 w 1076325"/>
                  <a:gd name="connsiteY2" fmla="*/ 955676 h 1303337"/>
                  <a:gd name="connsiteX3" fmla="*/ 620714 w 1076325"/>
                  <a:gd name="connsiteY3" fmla="*/ 915988 h 1303337"/>
                  <a:gd name="connsiteX4" fmla="*/ 581026 w 1076325"/>
                  <a:gd name="connsiteY4" fmla="*/ 876300 h 1303337"/>
                  <a:gd name="connsiteX5" fmla="*/ 484007 w 1076325"/>
                  <a:gd name="connsiteY5" fmla="*/ 830262 h 1303337"/>
                  <a:gd name="connsiteX6" fmla="*/ 678044 w 1076325"/>
                  <a:gd name="connsiteY6" fmla="*/ 830262 h 1303337"/>
                  <a:gd name="connsiteX7" fmla="*/ 693738 w 1076325"/>
                  <a:gd name="connsiteY7" fmla="*/ 845936 h 1303337"/>
                  <a:gd name="connsiteX8" fmla="*/ 693738 w 1076325"/>
                  <a:gd name="connsiteY8" fmla="*/ 1287663 h 1303337"/>
                  <a:gd name="connsiteX9" fmla="*/ 678044 w 1076325"/>
                  <a:gd name="connsiteY9" fmla="*/ 1303337 h 1303337"/>
                  <a:gd name="connsiteX10" fmla="*/ 484007 w 1076325"/>
                  <a:gd name="connsiteY10" fmla="*/ 1303337 h 1303337"/>
                  <a:gd name="connsiteX11" fmla="*/ 468313 w 1076325"/>
                  <a:gd name="connsiteY11" fmla="*/ 1287663 h 1303337"/>
                  <a:gd name="connsiteX12" fmla="*/ 468313 w 1076325"/>
                  <a:gd name="connsiteY12" fmla="*/ 845936 h 1303337"/>
                  <a:gd name="connsiteX13" fmla="*/ 484007 w 1076325"/>
                  <a:gd name="connsiteY13" fmla="*/ 830262 h 1303337"/>
                  <a:gd name="connsiteX14" fmla="*/ 810793 w 1076325"/>
                  <a:gd name="connsiteY14" fmla="*/ 436562 h 1303337"/>
                  <a:gd name="connsiteX15" fmla="*/ 796925 w 1076325"/>
                  <a:gd name="connsiteY15" fmla="*/ 437965 h 1303337"/>
                  <a:gd name="connsiteX16" fmla="*/ 796925 w 1076325"/>
                  <a:gd name="connsiteY16" fmla="*/ 496186 h 1303337"/>
                  <a:gd name="connsiteX17" fmla="*/ 813713 w 1076325"/>
                  <a:gd name="connsiteY17" fmla="*/ 496887 h 1303337"/>
                  <a:gd name="connsiteX18" fmla="*/ 849477 w 1076325"/>
                  <a:gd name="connsiteY18" fmla="*/ 490574 h 1303337"/>
                  <a:gd name="connsiteX19" fmla="*/ 860425 w 1076325"/>
                  <a:gd name="connsiteY19" fmla="*/ 464620 h 1303337"/>
                  <a:gd name="connsiteX20" fmla="*/ 848747 w 1076325"/>
                  <a:gd name="connsiteY20" fmla="*/ 442875 h 1303337"/>
                  <a:gd name="connsiteX21" fmla="*/ 810793 w 1076325"/>
                  <a:gd name="connsiteY21" fmla="*/ 436562 h 1303337"/>
                  <a:gd name="connsiteX22" fmla="*/ 939800 w 1076325"/>
                  <a:gd name="connsiteY22" fmla="*/ 403225 h 1303337"/>
                  <a:gd name="connsiteX23" fmla="*/ 1076325 w 1076325"/>
                  <a:gd name="connsiteY23" fmla="*/ 403225 h 1303337"/>
                  <a:gd name="connsiteX24" fmla="*/ 1076325 w 1076325"/>
                  <a:gd name="connsiteY24" fmla="*/ 437490 h 1303337"/>
                  <a:gd name="connsiteX25" fmla="*/ 977684 w 1076325"/>
                  <a:gd name="connsiteY25" fmla="*/ 437490 h 1303337"/>
                  <a:gd name="connsiteX26" fmla="*/ 977684 w 1076325"/>
                  <a:gd name="connsiteY26" fmla="*/ 487459 h 1303337"/>
                  <a:gd name="connsiteX27" fmla="*/ 1048448 w 1076325"/>
                  <a:gd name="connsiteY27" fmla="*/ 487459 h 1303337"/>
                  <a:gd name="connsiteX28" fmla="*/ 1048448 w 1076325"/>
                  <a:gd name="connsiteY28" fmla="*/ 519581 h 1303337"/>
                  <a:gd name="connsiteX29" fmla="*/ 977684 w 1076325"/>
                  <a:gd name="connsiteY29" fmla="*/ 519581 h 1303337"/>
                  <a:gd name="connsiteX30" fmla="*/ 977684 w 1076325"/>
                  <a:gd name="connsiteY30" fmla="*/ 582400 h 1303337"/>
                  <a:gd name="connsiteX31" fmla="*/ 1074896 w 1076325"/>
                  <a:gd name="connsiteY31" fmla="*/ 582400 h 1303337"/>
                  <a:gd name="connsiteX32" fmla="*/ 1074896 w 1076325"/>
                  <a:gd name="connsiteY32" fmla="*/ 615950 h 1303337"/>
                  <a:gd name="connsiteX33" fmla="*/ 939800 w 1076325"/>
                  <a:gd name="connsiteY33" fmla="*/ 615950 h 1303337"/>
                  <a:gd name="connsiteX34" fmla="*/ 939800 w 1076325"/>
                  <a:gd name="connsiteY34" fmla="*/ 403225 h 1303337"/>
                  <a:gd name="connsiteX35" fmla="*/ 557213 w 1076325"/>
                  <a:gd name="connsiteY35" fmla="*/ 403225 h 1303337"/>
                  <a:gd name="connsiteX36" fmla="*/ 595113 w 1076325"/>
                  <a:gd name="connsiteY36" fmla="*/ 403225 h 1303337"/>
                  <a:gd name="connsiteX37" fmla="*/ 595113 w 1076325"/>
                  <a:gd name="connsiteY37" fmla="*/ 549036 h 1303337"/>
                  <a:gd name="connsiteX38" fmla="*/ 605124 w 1076325"/>
                  <a:gd name="connsiteY38" fmla="*/ 577049 h 1303337"/>
                  <a:gd name="connsiteX39" fmla="*/ 634443 w 1076325"/>
                  <a:gd name="connsiteY39" fmla="*/ 587823 h 1303337"/>
                  <a:gd name="connsiteX40" fmla="*/ 666622 w 1076325"/>
                  <a:gd name="connsiteY40" fmla="*/ 577767 h 1303337"/>
                  <a:gd name="connsiteX41" fmla="*/ 678063 w 1076325"/>
                  <a:gd name="connsiteY41" fmla="*/ 548317 h 1303337"/>
                  <a:gd name="connsiteX42" fmla="*/ 678063 w 1076325"/>
                  <a:gd name="connsiteY42" fmla="*/ 403225 h 1303337"/>
                  <a:gd name="connsiteX43" fmla="*/ 715963 w 1076325"/>
                  <a:gd name="connsiteY43" fmla="*/ 403225 h 1303337"/>
                  <a:gd name="connsiteX44" fmla="*/ 715963 w 1076325"/>
                  <a:gd name="connsiteY44" fmla="*/ 551191 h 1303337"/>
                  <a:gd name="connsiteX45" fmla="*/ 693795 w 1076325"/>
                  <a:gd name="connsiteY45" fmla="*/ 602907 h 1303337"/>
                  <a:gd name="connsiteX46" fmla="*/ 634443 w 1076325"/>
                  <a:gd name="connsiteY46" fmla="*/ 622300 h 1303337"/>
                  <a:gd name="connsiteX47" fmla="*/ 577236 w 1076325"/>
                  <a:gd name="connsiteY47" fmla="*/ 603625 h 1303337"/>
                  <a:gd name="connsiteX48" fmla="*/ 557213 w 1076325"/>
                  <a:gd name="connsiteY48" fmla="*/ 551191 h 1303337"/>
                  <a:gd name="connsiteX49" fmla="*/ 557213 w 1076325"/>
                  <a:gd name="connsiteY49" fmla="*/ 403225 h 1303337"/>
                  <a:gd name="connsiteX50" fmla="*/ 357188 w 1076325"/>
                  <a:gd name="connsiteY50" fmla="*/ 403225 h 1303337"/>
                  <a:gd name="connsiteX51" fmla="*/ 531813 w 1076325"/>
                  <a:gd name="connsiteY51" fmla="*/ 403225 h 1303337"/>
                  <a:gd name="connsiteX52" fmla="*/ 531813 w 1076325"/>
                  <a:gd name="connsiteY52" fmla="*/ 437490 h 1303337"/>
                  <a:gd name="connsiteX53" fmla="*/ 461537 w 1076325"/>
                  <a:gd name="connsiteY53" fmla="*/ 437490 h 1303337"/>
                  <a:gd name="connsiteX54" fmla="*/ 461537 w 1076325"/>
                  <a:gd name="connsiteY54" fmla="*/ 615950 h 1303337"/>
                  <a:gd name="connsiteX55" fmla="*/ 423914 w 1076325"/>
                  <a:gd name="connsiteY55" fmla="*/ 615950 h 1303337"/>
                  <a:gd name="connsiteX56" fmla="*/ 423914 w 1076325"/>
                  <a:gd name="connsiteY56" fmla="*/ 437490 h 1303337"/>
                  <a:gd name="connsiteX57" fmla="*/ 357188 w 1076325"/>
                  <a:gd name="connsiteY57" fmla="*/ 437490 h 1303337"/>
                  <a:gd name="connsiteX58" fmla="*/ 357188 w 1076325"/>
                  <a:gd name="connsiteY58" fmla="*/ 403225 h 1303337"/>
                  <a:gd name="connsiteX59" fmla="*/ 173038 w 1076325"/>
                  <a:gd name="connsiteY59" fmla="*/ 403225 h 1303337"/>
                  <a:gd name="connsiteX60" fmla="*/ 210938 w 1076325"/>
                  <a:gd name="connsiteY60" fmla="*/ 403225 h 1303337"/>
                  <a:gd name="connsiteX61" fmla="*/ 210938 w 1076325"/>
                  <a:gd name="connsiteY61" fmla="*/ 549036 h 1303337"/>
                  <a:gd name="connsiteX62" fmla="*/ 220949 w 1076325"/>
                  <a:gd name="connsiteY62" fmla="*/ 577049 h 1303337"/>
                  <a:gd name="connsiteX63" fmla="*/ 250267 w 1076325"/>
                  <a:gd name="connsiteY63" fmla="*/ 587823 h 1303337"/>
                  <a:gd name="connsiteX64" fmla="*/ 281731 w 1076325"/>
                  <a:gd name="connsiteY64" fmla="*/ 577767 h 1303337"/>
                  <a:gd name="connsiteX65" fmla="*/ 293888 w 1076325"/>
                  <a:gd name="connsiteY65" fmla="*/ 548317 h 1303337"/>
                  <a:gd name="connsiteX66" fmla="*/ 293888 w 1076325"/>
                  <a:gd name="connsiteY66" fmla="*/ 403225 h 1303337"/>
                  <a:gd name="connsiteX67" fmla="*/ 331788 w 1076325"/>
                  <a:gd name="connsiteY67" fmla="*/ 403225 h 1303337"/>
                  <a:gd name="connsiteX68" fmla="*/ 331788 w 1076325"/>
                  <a:gd name="connsiteY68" fmla="*/ 551191 h 1303337"/>
                  <a:gd name="connsiteX69" fmla="*/ 309620 w 1076325"/>
                  <a:gd name="connsiteY69" fmla="*/ 602907 h 1303337"/>
                  <a:gd name="connsiteX70" fmla="*/ 250267 w 1076325"/>
                  <a:gd name="connsiteY70" fmla="*/ 622300 h 1303337"/>
                  <a:gd name="connsiteX71" fmla="*/ 193060 w 1076325"/>
                  <a:gd name="connsiteY71" fmla="*/ 603625 h 1303337"/>
                  <a:gd name="connsiteX72" fmla="*/ 173038 w 1076325"/>
                  <a:gd name="connsiteY72" fmla="*/ 551191 h 1303337"/>
                  <a:gd name="connsiteX73" fmla="*/ 173038 w 1076325"/>
                  <a:gd name="connsiteY73" fmla="*/ 403225 h 1303337"/>
                  <a:gd name="connsiteX74" fmla="*/ 0 w 1076325"/>
                  <a:gd name="connsiteY74" fmla="*/ 403225 h 1303337"/>
                  <a:gd name="connsiteX75" fmla="*/ 139700 w 1076325"/>
                  <a:gd name="connsiteY75" fmla="*/ 403225 h 1303337"/>
                  <a:gd name="connsiteX76" fmla="*/ 139700 w 1076325"/>
                  <a:gd name="connsiteY76" fmla="*/ 437490 h 1303337"/>
                  <a:gd name="connsiteX77" fmla="*/ 37776 w 1076325"/>
                  <a:gd name="connsiteY77" fmla="*/ 437490 h 1303337"/>
                  <a:gd name="connsiteX78" fmla="*/ 37776 w 1076325"/>
                  <a:gd name="connsiteY78" fmla="*/ 487459 h 1303337"/>
                  <a:gd name="connsiteX79" fmla="*/ 111902 w 1076325"/>
                  <a:gd name="connsiteY79" fmla="*/ 487459 h 1303337"/>
                  <a:gd name="connsiteX80" fmla="*/ 111902 w 1076325"/>
                  <a:gd name="connsiteY80" fmla="*/ 519581 h 1303337"/>
                  <a:gd name="connsiteX81" fmla="*/ 37776 w 1076325"/>
                  <a:gd name="connsiteY81" fmla="*/ 519581 h 1303337"/>
                  <a:gd name="connsiteX82" fmla="*/ 37776 w 1076325"/>
                  <a:gd name="connsiteY82" fmla="*/ 615950 h 1303337"/>
                  <a:gd name="connsiteX83" fmla="*/ 0 w 1076325"/>
                  <a:gd name="connsiteY83" fmla="*/ 615950 h 1303337"/>
                  <a:gd name="connsiteX84" fmla="*/ 0 w 1076325"/>
                  <a:gd name="connsiteY84" fmla="*/ 403225 h 1303337"/>
                  <a:gd name="connsiteX85" fmla="*/ 819678 w 1076325"/>
                  <a:gd name="connsiteY85" fmla="*/ 401637 h 1303337"/>
                  <a:gd name="connsiteX86" fmla="*/ 900363 w 1076325"/>
                  <a:gd name="connsiteY86" fmla="*/ 465216 h 1303337"/>
                  <a:gd name="connsiteX87" fmla="*/ 888939 w 1076325"/>
                  <a:gd name="connsiteY87" fmla="*/ 498792 h 1303337"/>
                  <a:gd name="connsiteX88" fmla="*/ 860378 w 1076325"/>
                  <a:gd name="connsiteY88" fmla="*/ 520937 h 1303337"/>
                  <a:gd name="connsiteX89" fmla="*/ 923926 w 1076325"/>
                  <a:gd name="connsiteY89" fmla="*/ 615949 h 1303337"/>
                  <a:gd name="connsiteX90" fmla="*/ 879656 w 1076325"/>
                  <a:gd name="connsiteY90" fmla="*/ 615949 h 1303337"/>
                  <a:gd name="connsiteX91" fmla="*/ 823962 w 1076325"/>
                  <a:gd name="connsiteY91" fmla="*/ 528796 h 1303337"/>
                  <a:gd name="connsiteX92" fmla="*/ 799685 w 1076325"/>
                  <a:gd name="connsiteY92" fmla="*/ 528081 h 1303337"/>
                  <a:gd name="connsiteX93" fmla="*/ 799685 w 1076325"/>
                  <a:gd name="connsiteY93" fmla="*/ 615949 h 1303337"/>
                  <a:gd name="connsiteX94" fmla="*/ 760413 w 1076325"/>
                  <a:gd name="connsiteY94" fmla="*/ 615949 h 1303337"/>
                  <a:gd name="connsiteX95" fmla="*/ 760413 w 1076325"/>
                  <a:gd name="connsiteY95" fmla="*/ 403780 h 1303337"/>
                  <a:gd name="connsiteX96" fmla="*/ 784690 w 1076325"/>
                  <a:gd name="connsiteY96" fmla="*/ 403066 h 1303337"/>
                  <a:gd name="connsiteX97" fmla="*/ 819678 w 1076325"/>
                  <a:gd name="connsiteY97" fmla="*/ 401637 h 1303337"/>
                  <a:gd name="connsiteX98" fmla="*/ 581026 w 1076325"/>
                  <a:gd name="connsiteY98" fmla="*/ 63500 h 1303337"/>
                  <a:gd name="connsiteX99" fmla="*/ 541338 w 1076325"/>
                  <a:gd name="connsiteY99" fmla="*/ 103188 h 1303337"/>
                  <a:gd name="connsiteX100" fmla="*/ 581026 w 1076325"/>
                  <a:gd name="connsiteY100" fmla="*/ 142876 h 1303337"/>
                  <a:gd name="connsiteX101" fmla="*/ 620714 w 1076325"/>
                  <a:gd name="connsiteY101" fmla="*/ 103188 h 1303337"/>
                  <a:gd name="connsiteX102" fmla="*/ 581026 w 1076325"/>
                  <a:gd name="connsiteY102" fmla="*/ 63500 h 1303337"/>
                  <a:gd name="connsiteX103" fmla="*/ 581739 w 1076325"/>
                  <a:gd name="connsiteY103" fmla="*/ 0 h 1303337"/>
                  <a:gd name="connsiteX104" fmla="*/ 680184 w 1076325"/>
                  <a:gd name="connsiteY104" fmla="*/ 14293 h 1303337"/>
                  <a:gd name="connsiteX105" fmla="*/ 693738 w 1076325"/>
                  <a:gd name="connsiteY105" fmla="*/ 37163 h 1303337"/>
                  <a:gd name="connsiteX106" fmla="*/ 693738 w 1076325"/>
                  <a:gd name="connsiteY106" fmla="*/ 177952 h 1303337"/>
                  <a:gd name="connsiteX107" fmla="*/ 678044 w 1076325"/>
                  <a:gd name="connsiteY107" fmla="*/ 193675 h 1303337"/>
                  <a:gd name="connsiteX108" fmla="*/ 484007 w 1076325"/>
                  <a:gd name="connsiteY108" fmla="*/ 193675 h 1303337"/>
                  <a:gd name="connsiteX109" fmla="*/ 468313 w 1076325"/>
                  <a:gd name="connsiteY109" fmla="*/ 177952 h 1303337"/>
                  <a:gd name="connsiteX110" fmla="*/ 468313 w 1076325"/>
                  <a:gd name="connsiteY110" fmla="*/ 37163 h 1303337"/>
                  <a:gd name="connsiteX111" fmla="*/ 482581 w 1076325"/>
                  <a:gd name="connsiteY111" fmla="*/ 14293 h 1303337"/>
                  <a:gd name="connsiteX112" fmla="*/ 581739 w 1076325"/>
                  <a:gd name="connsiteY112" fmla="*/ 0 h 130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076325" h="1303337">
                    <a:moveTo>
                      <a:pt x="581026" y="876300"/>
                    </a:moveTo>
                    <a:cubicBezTo>
                      <a:pt x="559107" y="876300"/>
                      <a:pt x="541338" y="894069"/>
                      <a:pt x="541338" y="915988"/>
                    </a:cubicBezTo>
                    <a:cubicBezTo>
                      <a:pt x="541338" y="937907"/>
                      <a:pt x="559107" y="955676"/>
                      <a:pt x="581026" y="955676"/>
                    </a:cubicBezTo>
                    <a:cubicBezTo>
                      <a:pt x="602945" y="955676"/>
                      <a:pt x="620714" y="937907"/>
                      <a:pt x="620714" y="915988"/>
                    </a:cubicBezTo>
                    <a:cubicBezTo>
                      <a:pt x="620714" y="894069"/>
                      <a:pt x="602945" y="876300"/>
                      <a:pt x="581026" y="876300"/>
                    </a:cubicBezTo>
                    <a:close/>
                    <a:moveTo>
                      <a:pt x="484007" y="830262"/>
                    </a:moveTo>
                    <a:cubicBezTo>
                      <a:pt x="484007" y="830262"/>
                      <a:pt x="484007" y="830262"/>
                      <a:pt x="678044" y="830262"/>
                    </a:cubicBezTo>
                    <a:cubicBezTo>
                      <a:pt x="686605" y="830262"/>
                      <a:pt x="693738" y="837387"/>
                      <a:pt x="693738" y="845936"/>
                    </a:cubicBezTo>
                    <a:cubicBezTo>
                      <a:pt x="693738" y="845936"/>
                      <a:pt x="693738" y="845936"/>
                      <a:pt x="693738" y="1287663"/>
                    </a:cubicBezTo>
                    <a:cubicBezTo>
                      <a:pt x="693738" y="1296213"/>
                      <a:pt x="686605" y="1303337"/>
                      <a:pt x="678044" y="1303337"/>
                    </a:cubicBezTo>
                    <a:cubicBezTo>
                      <a:pt x="678044" y="1303337"/>
                      <a:pt x="678044" y="1303337"/>
                      <a:pt x="484007" y="1303337"/>
                    </a:cubicBezTo>
                    <a:cubicBezTo>
                      <a:pt x="475447" y="1303337"/>
                      <a:pt x="468313" y="1296213"/>
                      <a:pt x="468313" y="1287663"/>
                    </a:cubicBezTo>
                    <a:cubicBezTo>
                      <a:pt x="468313" y="1287663"/>
                      <a:pt x="468313" y="1287663"/>
                      <a:pt x="468313" y="845936"/>
                    </a:cubicBezTo>
                    <a:cubicBezTo>
                      <a:pt x="468313" y="837387"/>
                      <a:pt x="475447" y="830262"/>
                      <a:pt x="484007" y="830262"/>
                    </a:cubicBezTo>
                    <a:close/>
                    <a:moveTo>
                      <a:pt x="810793" y="436562"/>
                    </a:moveTo>
                    <a:cubicBezTo>
                      <a:pt x="806414" y="436562"/>
                      <a:pt x="801305" y="437264"/>
                      <a:pt x="796925" y="437965"/>
                    </a:cubicBezTo>
                    <a:cubicBezTo>
                      <a:pt x="796925" y="437965"/>
                      <a:pt x="796925" y="437965"/>
                      <a:pt x="796925" y="496186"/>
                    </a:cubicBezTo>
                    <a:cubicBezTo>
                      <a:pt x="804954" y="496186"/>
                      <a:pt x="810063" y="496887"/>
                      <a:pt x="813713" y="496887"/>
                    </a:cubicBezTo>
                    <a:cubicBezTo>
                      <a:pt x="830500" y="496887"/>
                      <a:pt x="842178" y="494783"/>
                      <a:pt x="849477" y="490574"/>
                    </a:cubicBezTo>
                    <a:cubicBezTo>
                      <a:pt x="856776" y="485664"/>
                      <a:pt x="860425" y="477246"/>
                      <a:pt x="860425" y="464620"/>
                    </a:cubicBezTo>
                    <a:cubicBezTo>
                      <a:pt x="860425" y="454098"/>
                      <a:pt x="856776" y="447084"/>
                      <a:pt x="848747" y="442875"/>
                    </a:cubicBezTo>
                    <a:cubicBezTo>
                      <a:pt x="840718" y="438666"/>
                      <a:pt x="828310" y="436562"/>
                      <a:pt x="810793" y="436562"/>
                    </a:cubicBezTo>
                    <a:close/>
                    <a:moveTo>
                      <a:pt x="939800" y="403225"/>
                    </a:moveTo>
                    <a:cubicBezTo>
                      <a:pt x="1076325" y="403225"/>
                      <a:pt x="1076325" y="403225"/>
                      <a:pt x="1076325" y="403225"/>
                    </a:cubicBezTo>
                    <a:cubicBezTo>
                      <a:pt x="1076325" y="437490"/>
                      <a:pt x="1076325" y="437490"/>
                      <a:pt x="1076325" y="437490"/>
                    </a:cubicBezTo>
                    <a:cubicBezTo>
                      <a:pt x="977684" y="437490"/>
                      <a:pt x="977684" y="437490"/>
                      <a:pt x="977684" y="437490"/>
                    </a:cubicBezTo>
                    <a:cubicBezTo>
                      <a:pt x="977684" y="487459"/>
                      <a:pt x="977684" y="487459"/>
                      <a:pt x="977684" y="487459"/>
                    </a:cubicBezTo>
                    <a:cubicBezTo>
                      <a:pt x="1048448" y="487459"/>
                      <a:pt x="1048448" y="487459"/>
                      <a:pt x="1048448" y="487459"/>
                    </a:cubicBezTo>
                    <a:cubicBezTo>
                      <a:pt x="1048448" y="519581"/>
                      <a:pt x="1048448" y="519581"/>
                      <a:pt x="1048448" y="519581"/>
                    </a:cubicBezTo>
                    <a:cubicBezTo>
                      <a:pt x="977684" y="519581"/>
                      <a:pt x="977684" y="519581"/>
                      <a:pt x="977684" y="519581"/>
                    </a:cubicBezTo>
                    <a:cubicBezTo>
                      <a:pt x="977684" y="582400"/>
                      <a:pt x="977684" y="582400"/>
                      <a:pt x="977684" y="582400"/>
                    </a:cubicBezTo>
                    <a:cubicBezTo>
                      <a:pt x="1074896" y="582400"/>
                      <a:pt x="1074896" y="582400"/>
                      <a:pt x="1074896" y="582400"/>
                    </a:cubicBezTo>
                    <a:cubicBezTo>
                      <a:pt x="1074896" y="615950"/>
                      <a:pt x="1074896" y="615950"/>
                      <a:pt x="1074896" y="615950"/>
                    </a:cubicBezTo>
                    <a:cubicBezTo>
                      <a:pt x="939800" y="615950"/>
                      <a:pt x="939800" y="615950"/>
                      <a:pt x="939800" y="615950"/>
                    </a:cubicBezTo>
                    <a:cubicBezTo>
                      <a:pt x="939800" y="403225"/>
                      <a:pt x="939800" y="403225"/>
                      <a:pt x="939800" y="403225"/>
                    </a:cubicBezTo>
                    <a:close/>
                    <a:moveTo>
                      <a:pt x="557213" y="403225"/>
                    </a:moveTo>
                    <a:cubicBezTo>
                      <a:pt x="595113" y="403225"/>
                      <a:pt x="595113" y="403225"/>
                      <a:pt x="595113" y="403225"/>
                    </a:cubicBezTo>
                    <a:cubicBezTo>
                      <a:pt x="595113" y="549036"/>
                      <a:pt x="595113" y="549036"/>
                      <a:pt x="595113" y="549036"/>
                    </a:cubicBezTo>
                    <a:cubicBezTo>
                      <a:pt x="595113" y="560528"/>
                      <a:pt x="598688" y="569866"/>
                      <a:pt x="605124" y="577049"/>
                    </a:cubicBezTo>
                    <a:cubicBezTo>
                      <a:pt x="612275" y="584231"/>
                      <a:pt x="622286" y="587823"/>
                      <a:pt x="634443" y="587823"/>
                    </a:cubicBezTo>
                    <a:cubicBezTo>
                      <a:pt x="648030" y="587823"/>
                      <a:pt x="658756" y="584950"/>
                      <a:pt x="666622" y="577767"/>
                    </a:cubicBezTo>
                    <a:cubicBezTo>
                      <a:pt x="673773" y="570584"/>
                      <a:pt x="678063" y="560528"/>
                      <a:pt x="678063" y="548317"/>
                    </a:cubicBezTo>
                    <a:cubicBezTo>
                      <a:pt x="678063" y="403225"/>
                      <a:pt x="678063" y="403225"/>
                      <a:pt x="678063" y="403225"/>
                    </a:cubicBezTo>
                    <a:cubicBezTo>
                      <a:pt x="715963" y="403225"/>
                      <a:pt x="715963" y="403225"/>
                      <a:pt x="715963" y="403225"/>
                    </a:cubicBezTo>
                    <a:cubicBezTo>
                      <a:pt x="715963" y="551191"/>
                      <a:pt x="715963" y="551191"/>
                      <a:pt x="715963" y="551191"/>
                    </a:cubicBezTo>
                    <a:cubicBezTo>
                      <a:pt x="715963" y="573457"/>
                      <a:pt x="708097" y="590696"/>
                      <a:pt x="693795" y="602907"/>
                    </a:cubicBezTo>
                    <a:cubicBezTo>
                      <a:pt x="678779" y="615836"/>
                      <a:pt x="659471" y="622300"/>
                      <a:pt x="634443" y="622300"/>
                    </a:cubicBezTo>
                    <a:cubicBezTo>
                      <a:pt x="609415" y="622300"/>
                      <a:pt x="590822" y="615836"/>
                      <a:pt x="577236" y="603625"/>
                    </a:cubicBezTo>
                    <a:cubicBezTo>
                      <a:pt x="563649" y="591414"/>
                      <a:pt x="557213" y="574175"/>
                      <a:pt x="557213" y="551191"/>
                    </a:cubicBezTo>
                    <a:cubicBezTo>
                      <a:pt x="557213" y="403225"/>
                      <a:pt x="557213" y="403225"/>
                      <a:pt x="557213" y="403225"/>
                    </a:cubicBezTo>
                    <a:close/>
                    <a:moveTo>
                      <a:pt x="357188" y="403225"/>
                    </a:moveTo>
                    <a:cubicBezTo>
                      <a:pt x="531813" y="403225"/>
                      <a:pt x="531813" y="403225"/>
                      <a:pt x="531813" y="403225"/>
                    </a:cubicBezTo>
                    <a:cubicBezTo>
                      <a:pt x="531813" y="437490"/>
                      <a:pt x="531813" y="437490"/>
                      <a:pt x="531813" y="437490"/>
                    </a:cubicBezTo>
                    <a:cubicBezTo>
                      <a:pt x="461537" y="437490"/>
                      <a:pt x="461537" y="437490"/>
                      <a:pt x="461537" y="437490"/>
                    </a:cubicBezTo>
                    <a:cubicBezTo>
                      <a:pt x="461537" y="615950"/>
                      <a:pt x="461537" y="615950"/>
                      <a:pt x="461537" y="615950"/>
                    </a:cubicBezTo>
                    <a:cubicBezTo>
                      <a:pt x="423914" y="615950"/>
                      <a:pt x="423914" y="615950"/>
                      <a:pt x="423914" y="615950"/>
                    </a:cubicBezTo>
                    <a:cubicBezTo>
                      <a:pt x="423914" y="437490"/>
                      <a:pt x="423914" y="437490"/>
                      <a:pt x="423914" y="437490"/>
                    </a:cubicBezTo>
                    <a:cubicBezTo>
                      <a:pt x="357188" y="437490"/>
                      <a:pt x="357188" y="437490"/>
                      <a:pt x="357188" y="437490"/>
                    </a:cubicBezTo>
                    <a:cubicBezTo>
                      <a:pt x="357188" y="403225"/>
                      <a:pt x="357188" y="403225"/>
                      <a:pt x="357188" y="403225"/>
                    </a:cubicBezTo>
                    <a:close/>
                    <a:moveTo>
                      <a:pt x="173038" y="403225"/>
                    </a:moveTo>
                    <a:cubicBezTo>
                      <a:pt x="210938" y="403225"/>
                      <a:pt x="210938" y="403225"/>
                      <a:pt x="210938" y="403225"/>
                    </a:cubicBezTo>
                    <a:cubicBezTo>
                      <a:pt x="210938" y="549036"/>
                      <a:pt x="210938" y="549036"/>
                      <a:pt x="210938" y="549036"/>
                    </a:cubicBezTo>
                    <a:cubicBezTo>
                      <a:pt x="210938" y="560528"/>
                      <a:pt x="213798" y="569866"/>
                      <a:pt x="220949" y="577049"/>
                    </a:cubicBezTo>
                    <a:cubicBezTo>
                      <a:pt x="228100" y="584231"/>
                      <a:pt x="238111" y="587823"/>
                      <a:pt x="250267" y="587823"/>
                    </a:cubicBezTo>
                    <a:cubicBezTo>
                      <a:pt x="263854" y="587823"/>
                      <a:pt x="274581" y="584950"/>
                      <a:pt x="281731" y="577767"/>
                    </a:cubicBezTo>
                    <a:cubicBezTo>
                      <a:pt x="289597" y="570584"/>
                      <a:pt x="293888" y="560528"/>
                      <a:pt x="293888" y="548317"/>
                    </a:cubicBezTo>
                    <a:cubicBezTo>
                      <a:pt x="293888" y="403225"/>
                      <a:pt x="293888" y="403225"/>
                      <a:pt x="293888" y="403225"/>
                    </a:cubicBezTo>
                    <a:cubicBezTo>
                      <a:pt x="331788" y="403225"/>
                      <a:pt x="331788" y="403225"/>
                      <a:pt x="331788" y="403225"/>
                    </a:cubicBezTo>
                    <a:cubicBezTo>
                      <a:pt x="331788" y="551191"/>
                      <a:pt x="331788" y="551191"/>
                      <a:pt x="331788" y="551191"/>
                    </a:cubicBezTo>
                    <a:cubicBezTo>
                      <a:pt x="331788" y="573457"/>
                      <a:pt x="323922" y="590696"/>
                      <a:pt x="309620" y="602907"/>
                    </a:cubicBezTo>
                    <a:cubicBezTo>
                      <a:pt x="294603" y="615836"/>
                      <a:pt x="275296" y="622300"/>
                      <a:pt x="250267" y="622300"/>
                    </a:cubicBezTo>
                    <a:cubicBezTo>
                      <a:pt x="225239" y="622300"/>
                      <a:pt x="206647" y="615836"/>
                      <a:pt x="193060" y="603625"/>
                    </a:cubicBezTo>
                    <a:cubicBezTo>
                      <a:pt x="179474" y="591414"/>
                      <a:pt x="173038" y="574175"/>
                      <a:pt x="173038" y="551191"/>
                    </a:cubicBezTo>
                    <a:cubicBezTo>
                      <a:pt x="173038" y="403225"/>
                      <a:pt x="173038" y="403225"/>
                      <a:pt x="173038" y="403225"/>
                    </a:cubicBezTo>
                    <a:close/>
                    <a:moveTo>
                      <a:pt x="0" y="403225"/>
                    </a:moveTo>
                    <a:cubicBezTo>
                      <a:pt x="139700" y="403225"/>
                      <a:pt x="139700" y="403225"/>
                      <a:pt x="139700" y="403225"/>
                    </a:cubicBezTo>
                    <a:cubicBezTo>
                      <a:pt x="139700" y="437490"/>
                      <a:pt x="139700" y="437490"/>
                      <a:pt x="139700" y="437490"/>
                    </a:cubicBezTo>
                    <a:cubicBezTo>
                      <a:pt x="37776" y="437490"/>
                      <a:pt x="37776" y="437490"/>
                      <a:pt x="37776" y="437490"/>
                    </a:cubicBezTo>
                    <a:cubicBezTo>
                      <a:pt x="37776" y="487459"/>
                      <a:pt x="37776" y="487459"/>
                      <a:pt x="37776" y="487459"/>
                    </a:cubicBezTo>
                    <a:cubicBezTo>
                      <a:pt x="111902" y="487459"/>
                      <a:pt x="111902" y="487459"/>
                      <a:pt x="111902" y="487459"/>
                    </a:cubicBezTo>
                    <a:cubicBezTo>
                      <a:pt x="111902" y="519581"/>
                      <a:pt x="111902" y="519581"/>
                      <a:pt x="111902" y="519581"/>
                    </a:cubicBezTo>
                    <a:cubicBezTo>
                      <a:pt x="37776" y="519581"/>
                      <a:pt x="37776" y="519581"/>
                      <a:pt x="37776" y="519581"/>
                    </a:cubicBezTo>
                    <a:cubicBezTo>
                      <a:pt x="37776" y="615950"/>
                      <a:pt x="37776" y="615950"/>
                      <a:pt x="37776" y="615950"/>
                    </a:cubicBezTo>
                    <a:cubicBezTo>
                      <a:pt x="0" y="615950"/>
                      <a:pt x="0" y="615950"/>
                      <a:pt x="0" y="615950"/>
                    </a:cubicBezTo>
                    <a:cubicBezTo>
                      <a:pt x="0" y="403225"/>
                      <a:pt x="0" y="403225"/>
                      <a:pt x="0" y="403225"/>
                    </a:cubicBezTo>
                    <a:close/>
                    <a:moveTo>
                      <a:pt x="819678" y="401637"/>
                    </a:moveTo>
                    <a:cubicBezTo>
                      <a:pt x="873230" y="401637"/>
                      <a:pt x="900363" y="423068"/>
                      <a:pt x="900363" y="465216"/>
                    </a:cubicBezTo>
                    <a:cubicBezTo>
                      <a:pt x="900363" y="476646"/>
                      <a:pt x="896079" y="488076"/>
                      <a:pt x="888939" y="498792"/>
                    </a:cubicBezTo>
                    <a:cubicBezTo>
                      <a:pt x="881084" y="509508"/>
                      <a:pt x="871802" y="516651"/>
                      <a:pt x="860378" y="520937"/>
                    </a:cubicBezTo>
                    <a:cubicBezTo>
                      <a:pt x="860378" y="520937"/>
                      <a:pt x="860378" y="520937"/>
                      <a:pt x="923926" y="615949"/>
                    </a:cubicBezTo>
                    <a:cubicBezTo>
                      <a:pt x="923926" y="615949"/>
                      <a:pt x="923926" y="615949"/>
                      <a:pt x="879656" y="615949"/>
                    </a:cubicBezTo>
                    <a:cubicBezTo>
                      <a:pt x="879656" y="615949"/>
                      <a:pt x="879656" y="615949"/>
                      <a:pt x="823962" y="528796"/>
                    </a:cubicBezTo>
                    <a:cubicBezTo>
                      <a:pt x="818250" y="528796"/>
                      <a:pt x="809681" y="528081"/>
                      <a:pt x="799685" y="528081"/>
                    </a:cubicBezTo>
                    <a:cubicBezTo>
                      <a:pt x="799685" y="528081"/>
                      <a:pt x="799685" y="528081"/>
                      <a:pt x="799685" y="615949"/>
                    </a:cubicBezTo>
                    <a:cubicBezTo>
                      <a:pt x="799685" y="615949"/>
                      <a:pt x="799685" y="615949"/>
                      <a:pt x="760413" y="615949"/>
                    </a:cubicBezTo>
                    <a:cubicBezTo>
                      <a:pt x="760413" y="615949"/>
                      <a:pt x="760413" y="615949"/>
                      <a:pt x="760413" y="403780"/>
                    </a:cubicBezTo>
                    <a:cubicBezTo>
                      <a:pt x="762555" y="403780"/>
                      <a:pt x="770410" y="403780"/>
                      <a:pt x="784690" y="403066"/>
                    </a:cubicBezTo>
                    <a:cubicBezTo>
                      <a:pt x="798971" y="402351"/>
                      <a:pt x="810395" y="401637"/>
                      <a:pt x="819678" y="401637"/>
                    </a:cubicBezTo>
                    <a:close/>
                    <a:moveTo>
                      <a:pt x="581026" y="63500"/>
                    </a:moveTo>
                    <a:cubicBezTo>
                      <a:pt x="559107" y="63500"/>
                      <a:pt x="541338" y="81269"/>
                      <a:pt x="541338" y="103188"/>
                    </a:cubicBezTo>
                    <a:cubicBezTo>
                      <a:pt x="541338" y="125107"/>
                      <a:pt x="559107" y="142876"/>
                      <a:pt x="581026" y="142876"/>
                    </a:cubicBezTo>
                    <a:cubicBezTo>
                      <a:pt x="602945" y="142876"/>
                      <a:pt x="620714" y="125107"/>
                      <a:pt x="620714" y="103188"/>
                    </a:cubicBezTo>
                    <a:cubicBezTo>
                      <a:pt x="620714" y="81269"/>
                      <a:pt x="602945" y="63500"/>
                      <a:pt x="581026" y="63500"/>
                    </a:cubicBezTo>
                    <a:close/>
                    <a:moveTo>
                      <a:pt x="581739" y="0"/>
                    </a:moveTo>
                    <a:cubicBezTo>
                      <a:pt x="653790" y="0"/>
                      <a:pt x="680184" y="14293"/>
                      <a:pt x="680184" y="14293"/>
                    </a:cubicBezTo>
                    <a:cubicBezTo>
                      <a:pt x="687318" y="17867"/>
                      <a:pt x="693738" y="28587"/>
                      <a:pt x="693738" y="37163"/>
                    </a:cubicBezTo>
                    <a:cubicBezTo>
                      <a:pt x="693738" y="37163"/>
                      <a:pt x="693738" y="37163"/>
                      <a:pt x="693738" y="177952"/>
                    </a:cubicBezTo>
                    <a:cubicBezTo>
                      <a:pt x="693738" y="186528"/>
                      <a:pt x="686605" y="193675"/>
                      <a:pt x="678044" y="193675"/>
                    </a:cubicBezTo>
                    <a:cubicBezTo>
                      <a:pt x="678044" y="193675"/>
                      <a:pt x="678044" y="193675"/>
                      <a:pt x="484007" y="193675"/>
                    </a:cubicBezTo>
                    <a:cubicBezTo>
                      <a:pt x="475447" y="193675"/>
                      <a:pt x="468313" y="186528"/>
                      <a:pt x="468313" y="177952"/>
                    </a:cubicBezTo>
                    <a:cubicBezTo>
                      <a:pt x="468313" y="177952"/>
                      <a:pt x="468313" y="177952"/>
                      <a:pt x="468313" y="37163"/>
                    </a:cubicBezTo>
                    <a:cubicBezTo>
                      <a:pt x="468313" y="28587"/>
                      <a:pt x="474734" y="17867"/>
                      <a:pt x="482581" y="14293"/>
                    </a:cubicBezTo>
                    <a:cubicBezTo>
                      <a:pt x="482581" y="14293"/>
                      <a:pt x="508262" y="0"/>
                      <a:pt x="581739"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46" name="Group 45">
            <a:extLst>
              <a:ext uri="{FF2B5EF4-FFF2-40B4-BE49-F238E27FC236}">
                <a16:creationId xmlns:a16="http://schemas.microsoft.com/office/drawing/2014/main" id="{1296E026-5EA1-4200-9805-972AFE2B0EEC}"/>
              </a:ext>
            </a:extLst>
          </p:cNvPr>
          <p:cNvGrpSpPr>
            <a:grpSpLocks noChangeAspect="1"/>
          </p:cNvGrpSpPr>
          <p:nvPr/>
        </p:nvGrpSpPr>
        <p:grpSpPr>
          <a:xfrm>
            <a:off x="605721" y="3184983"/>
            <a:ext cx="1013947" cy="1012969"/>
            <a:chOff x="6464300" y="2606675"/>
            <a:chExt cx="1646238" cy="1644650"/>
          </a:xfrm>
        </p:grpSpPr>
        <p:sp>
          <p:nvSpPr>
            <p:cNvPr id="53" name="AutoShape 3">
              <a:extLst>
                <a:ext uri="{FF2B5EF4-FFF2-40B4-BE49-F238E27FC236}">
                  <a16:creationId xmlns:a16="http://schemas.microsoft.com/office/drawing/2014/main" id="{0FE015C4-DA00-4330-8392-74BADDDFD963}"/>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4" name="Group 53">
              <a:extLst>
                <a:ext uri="{FF2B5EF4-FFF2-40B4-BE49-F238E27FC236}">
                  <a16:creationId xmlns:a16="http://schemas.microsoft.com/office/drawing/2014/main" id="{E31E3659-47B1-4DD3-864E-521B80BB93EF}"/>
                </a:ext>
              </a:extLst>
            </p:cNvPr>
            <p:cNvGrpSpPr/>
            <p:nvPr/>
          </p:nvGrpSpPr>
          <p:grpSpPr>
            <a:xfrm>
              <a:off x="6729413" y="2881312"/>
              <a:ext cx="1146175" cy="1125538"/>
              <a:chOff x="6729413" y="2881312"/>
              <a:chExt cx="1146175" cy="1125538"/>
            </a:xfrm>
          </p:grpSpPr>
          <p:sp>
            <p:nvSpPr>
              <p:cNvPr id="55" name="Freeform 10">
                <a:extLst>
                  <a:ext uri="{FF2B5EF4-FFF2-40B4-BE49-F238E27FC236}">
                    <a16:creationId xmlns:a16="http://schemas.microsoft.com/office/drawing/2014/main" id="{1DF8A0CD-A670-48D3-9B50-4F88090DD597}"/>
                  </a:ext>
                </a:extLst>
              </p:cNvPr>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6" name="Freeform 11">
                <a:extLst>
                  <a:ext uri="{FF2B5EF4-FFF2-40B4-BE49-F238E27FC236}">
                    <a16:creationId xmlns:a16="http://schemas.microsoft.com/office/drawing/2014/main" id="{1F194DED-4FA8-452C-AA57-8DB07422B05C}"/>
                  </a:ext>
                </a:extLst>
              </p:cNvPr>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47" name="Oval 46">
            <a:extLst>
              <a:ext uri="{FF2B5EF4-FFF2-40B4-BE49-F238E27FC236}">
                <a16:creationId xmlns:a16="http://schemas.microsoft.com/office/drawing/2014/main" id="{35550280-6005-4FA2-9EEC-676EFA099856}"/>
              </a:ext>
            </a:extLst>
          </p:cNvPr>
          <p:cNvSpPr/>
          <p:nvPr>
            <p:custDataLst>
              <p:tags r:id="rId5"/>
            </p:custDataLst>
          </p:nvPr>
        </p:nvSpPr>
        <p:spPr>
          <a:xfrm>
            <a:off x="395929" y="4303975"/>
            <a:ext cx="1432554" cy="1432555"/>
          </a:xfrm>
          <a:prstGeom prst="ellipse">
            <a:avLst/>
          </a:prstGeom>
          <a:solidFill>
            <a:srgbClr val="FFFFFF"/>
          </a:solidFill>
          <a:ln w="3810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dirty="0" err="1">
              <a:solidFill>
                <a:srgbClr val="000000"/>
              </a:solidFill>
            </a:endParaRPr>
          </a:p>
        </p:txBody>
      </p:sp>
      <p:grpSp>
        <p:nvGrpSpPr>
          <p:cNvPr id="48" name="Group 47">
            <a:extLst>
              <a:ext uri="{FF2B5EF4-FFF2-40B4-BE49-F238E27FC236}">
                <a16:creationId xmlns:a16="http://schemas.microsoft.com/office/drawing/2014/main" id="{0F63C252-929E-4A42-B2E6-EE4547BB6BF4}"/>
              </a:ext>
            </a:extLst>
          </p:cNvPr>
          <p:cNvGrpSpPr>
            <a:grpSpLocks noChangeAspect="1"/>
          </p:cNvGrpSpPr>
          <p:nvPr/>
        </p:nvGrpSpPr>
        <p:grpSpPr>
          <a:xfrm>
            <a:off x="605721" y="4513768"/>
            <a:ext cx="1012969" cy="1012969"/>
            <a:chOff x="5198325" y="1967654"/>
            <a:chExt cx="1798920" cy="1798920"/>
          </a:xfrm>
        </p:grpSpPr>
        <p:sp>
          <p:nvSpPr>
            <p:cNvPr id="49" name="AutoShape 3">
              <a:extLst>
                <a:ext uri="{FF2B5EF4-FFF2-40B4-BE49-F238E27FC236}">
                  <a16:creationId xmlns:a16="http://schemas.microsoft.com/office/drawing/2014/main" id="{634A7FE7-A44E-4AC4-B690-07596211F138}"/>
                </a:ext>
              </a:extLst>
            </p:cNvPr>
            <p:cNvSpPr>
              <a:spLocks noChangeAspect="1" noChangeArrowheads="1" noTextEdit="1"/>
            </p:cNvSpPr>
            <p:nvPr/>
          </p:nvSpPr>
          <p:spPr bwMode="auto">
            <a:xfrm>
              <a:off x="5198325" y="1967654"/>
              <a:ext cx="1798920" cy="1798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a:extLst>
                <a:ext uri="{FF2B5EF4-FFF2-40B4-BE49-F238E27FC236}">
                  <a16:creationId xmlns:a16="http://schemas.microsoft.com/office/drawing/2014/main" id="{816277E4-5237-4CA7-881B-BCAE6AFFA53F}"/>
                </a:ext>
              </a:extLst>
            </p:cNvPr>
            <p:cNvGrpSpPr/>
            <p:nvPr/>
          </p:nvGrpSpPr>
          <p:grpSpPr>
            <a:xfrm>
              <a:off x="5384121" y="2167342"/>
              <a:ext cx="1427329" cy="1397810"/>
              <a:chOff x="5384121" y="2167342"/>
              <a:chExt cx="1427329" cy="1397810"/>
            </a:xfrm>
          </p:grpSpPr>
          <p:sp>
            <p:nvSpPr>
              <p:cNvPr id="51" name="Freeform 6">
                <a:extLst>
                  <a:ext uri="{FF2B5EF4-FFF2-40B4-BE49-F238E27FC236}">
                    <a16:creationId xmlns:a16="http://schemas.microsoft.com/office/drawing/2014/main" id="{B330C70D-D2B9-4E9A-AD94-98568486C398}"/>
                  </a:ext>
                </a:extLst>
              </p:cNvPr>
              <p:cNvSpPr>
                <a:spLocks noEditPoints="1"/>
              </p:cNvSpPr>
              <p:nvPr/>
            </p:nvSpPr>
            <p:spPr bwMode="auto">
              <a:xfrm>
                <a:off x="5410167" y="2189915"/>
                <a:ext cx="1368291" cy="1349191"/>
              </a:xfrm>
              <a:custGeom>
                <a:avLst/>
                <a:gdLst>
                  <a:gd name="T0" fmla="*/ 883 w 1753"/>
                  <a:gd name="T1" fmla="*/ 1649 h 1728"/>
                  <a:gd name="T2" fmla="*/ 1322 w 1753"/>
                  <a:gd name="T3" fmla="*/ 832 h 1728"/>
                  <a:gd name="T4" fmla="*/ 1199 w 1753"/>
                  <a:gd name="T5" fmla="*/ 531 h 1728"/>
                  <a:gd name="T6" fmla="*/ 90 w 1753"/>
                  <a:gd name="T7" fmla="*/ 492 h 1728"/>
                  <a:gd name="T8" fmla="*/ 122 w 1753"/>
                  <a:gd name="T9" fmla="*/ 508 h 1728"/>
                  <a:gd name="T10" fmla="*/ 1032 w 1753"/>
                  <a:gd name="T11" fmla="*/ 1381 h 1728"/>
                  <a:gd name="T12" fmla="*/ 1254 w 1753"/>
                  <a:gd name="T13" fmla="*/ 907 h 1728"/>
                  <a:gd name="T14" fmla="*/ 1254 w 1753"/>
                  <a:gd name="T15" fmla="*/ 907 h 1728"/>
                  <a:gd name="T16" fmla="*/ 729 w 1753"/>
                  <a:gd name="T17" fmla="*/ 647 h 1728"/>
                  <a:gd name="T18" fmla="*/ 1682 w 1753"/>
                  <a:gd name="T19" fmla="*/ 1158 h 1728"/>
                  <a:gd name="T20" fmla="*/ 1663 w 1753"/>
                  <a:gd name="T21" fmla="*/ 1161 h 1728"/>
                  <a:gd name="T22" fmla="*/ 668 w 1753"/>
                  <a:gd name="T23" fmla="*/ 1322 h 1728"/>
                  <a:gd name="T24" fmla="*/ 819 w 1753"/>
                  <a:gd name="T25" fmla="*/ 1686 h 1728"/>
                  <a:gd name="T26" fmla="*/ 956 w 1753"/>
                  <a:gd name="T27" fmla="*/ 1723 h 1728"/>
                  <a:gd name="T28" fmla="*/ 949 w 1753"/>
                  <a:gd name="T29" fmla="*/ 1692 h 1728"/>
                  <a:gd name="T30" fmla="*/ 1527 w 1753"/>
                  <a:gd name="T31" fmla="*/ 1455 h 1728"/>
                  <a:gd name="T32" fmla="*/ 1188 w 1753"/>
                  <a:gd name="T33" fmla="*/ 51 h 1728"/>
                  <a:gd name="T34" fmla="*/ 616 w 1753"/>
                  <a:gd name="T35" fmla="*/ 322 h 1728"/>
                  <a:gd name="T36" fmla="*/ 598 w 1753"/>
                  <a:gd name="T37" fmla="*/ 583 h 1728"/>
                  <a:gd name="T38" fmla="*/ 725 w 1753"/>
                  <a:gd name="T39" fmla="*/ 1044 h 1728"/>
                  <a:gd name="T40" fmla="*/ 784 w 1753"/>
                  <a:gd name="T41" fmla="*/ 1205 h 1728"/>
                  <a:gd name="T42" fmla="*/ 140 w 1753"/>
                  <a:gd name="T43" fmla="*/ 1291 h 1728"/>
                  <a:gd name="T44" fmla="*/ 1687 w 1753"/>
                  <a:gd name="T45" fmla="*/ 847 h 1728"/>
                  <a:gd name="T46" fmla="*/ 1699 w 1753"/>
                  <a:gd name="T47" fmla="*/ 874 h 1728"/>
                  <a:gd name="T48" fmla="*/ 1391 w 1753"/>
                  <a:gd name="T49" fmla="*/ 1504 h 1728"/>
                  <a:gd name="T50" fmla="*/ 58 w 1753"/>
                  <a:gd name="T51" fmla="*/ 884 h 1728"/>
                  <a:gd name="T52" fmla="*/ 280 w 1753"/>
                  <a:gd name="T53" fmla="*/ 1065 h 1728"/>
                  <a:gd name="T54" fmla="*/ 1741 w 1753"/>
                  <a:gd name="T55" fmla="*/ 759 h 1728"/>
                  <a:gd name="T56" fmla="*/ 1741 w 1753"/>
                  <a:gd name="T57" fmla="*/ 759 h 1728"/>
                  <a:gd name="T58" fmla="*/ 1594 w 1753"/>
                  <a:gd name="T59" fmla="*/ 1195 h 1728"/>
                  <a:gd name="T60" fmla="*/ 332 w 1753"/>
                  <a:gd name="T61" fmla="*/ 1181 h 1728"/>
                  <a:gd name="T62" fmla="*/ 332 w 1753"/>
                  <a:gd name="T63" fmla="*/ 1181 h 1728"/>
                  <a:gd name="T64" fmla="*/ 218 w 1753"/>
                  <a:gd name="T65" fmla="*/ 486 h 1728"/>
                  <a:gd name="T66" fmla="*/ 1455 w 1753"/>
                  <a:gd name="T67" fmla="*/ 824 h 1728"/>
                  <a:gd name="T68" fmla="*/ 1455 w 1753"/>
                  <a:gd name="T69" fmla="*/ 824 h 1728"/>
                  <a:gd name="T70" fmla="*/ 61 w 1753"/>
                  <a:gd name="T71" fmla="*/ 865 h 1728"/>
                  <a:gd name="T72" fmla="*/ 638 w 1753"/>
                  <a:gd name="T73" fmla="*/ 184 h 1728"/>
                  <a:gd name="T74" fmla="*/ 603 w 1753"/>
                  <a:gd name="T75" fmla="*/ 175 h 1728"/>
                  <a:gd name="T76" fmla="*/ 989 w 1753"/>
                  <a:gd name="T77" fmla="*/ 1262 h 1728"/>
                  <a:gd name="T78" fmla="*/ 250 w 1753"/>
                  <a:gd name="T79" fmla="*/ 381 h 1728"/>
                  <a:gd name="T80" fmla="*/ 632 w 1753"/>
                  <a:gd name="T81" fmla="*/ 67 h 1728"/>
                  <a:gd name="T82" fmla="*/ 661 w 1753"/>
                  <a:gd name="T83" fmla="*/ 1414 h 1728"/>
                  <a:gd name="T84" fmla="*/ 299 w 1753"/>
                  <a:gd name="T85" fmla="*/ 1367 h 1728"/>
                  <a:gd name="T86" fmla="*/ 661 w 1753"/>
                  <a:gd name="T87" fmla="*/ 202 h 1728"/>
                  <a:gd name="T88" fmla="*/ 970 w 1753"/>
                  <a:gd name="T89" fmla="*/ 241 h 1728"/>
                  <a:gd name="T90" fmla="*/ 1047 w 1753"/>
                  <a:gd name="T91" fmla="*/ 7 h 1728"/>
                  <a:gd name="T92" fmla="*/ 749 w 1753"/>
                  <a:gd name="T93" fmla="*/ 36 h 1728"/>
                  <a:gd name="T94" fmla="*/ 1473 w 1753"/>
                  <a:gd name="T95" fmla="*/ 302 h 1728"/>
                  <a:gd name="T96" fmla="*/ 1466 w 1753"/>
                  <a:gd name="T97" fmla="*/ 33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3" h="1728">
                    <a:moveTo>
                      <a:pt x="846" y="1570"/>
                    </a:moveTo>
                    <a:cubicBezTo>
                      <a:pt x="858" y="1570"/>
                      <a:pt x="869" y="1569"/>
                      <a:pt x="880" y="1568"/>
                    </a:cubicBezTo>
                    <a:cubicBezTo>
                      <a:pt x="882" y="1587"/>
                      <a:pt x="886" y="1613"/>
                      <a:pt x="891" y="1649"/>
                    </a:cubicBezTo>
                    <a:cubicBezTo>
                      <a:pt x="888" y="1649"/>
                      <a:pt x="886" y="1649"/>
                      <a:pt x="883" y="1649"/>
                    </a:cubicBezTo>
                    <a:cubicBezTo>
                      <a:pt x="873" y="1649"/>
                      <a:pt x="864" y="1650"/>
                      <a:pt x="855" y="1654"/>
                    </a:cubicBezTo>
                    <a:cubicBezTo>
                      <a:pt x="853" y="1644"/>
                      <a:pt x="851" y="1623"/>
                      <a:pt x="844" y="1570"/>
                    </a:cubicBezTo>
                    <a:cubicBezTo>
                      <a:pt x="845" y="1570"/>
                      <a:pt x="846" y="1570"/>
                      <a:pt x="846" y="1570"/>
                    </a:cubicBezTo>
                    <a:close/>
                    <a:moveTo>
                      <a:pt x="1322" y="832"/>
                    </a:moveTo>
                    <a:cubicBezTo>
                      <a:pt x="1332" y="826"/>
                      <a:pt x="1344" y="822"/>
                      <a:pt x="1356" y="818"/>
                    </a:cubicBezTo>
                    <a:cubicBezTo>
                      <a:pt x="1256" y="575"/>
                      <a:pt x="1210" y="463"/>
                      <a:pt x="1189" y="410"/>
                    </a:cubicBezTo>
                    <a:cubicBezTo>
                      <a:pt x="1178" y="416"/>
                      <a:pt x="1167" y="421"/>
                      <a:pt x="1155" y="425"/>
                    </a:cubicBezTo>
                    <a:cubicBezTo>
                      <a:pt x="1199" y="531"/>
                      <a:pt x="1199" y="531"/>
                      <a:pt x="1199" y="531"/>
                    </a:cubicBezTo>
                    <a:cubicBezTo>
                      <a:pt x="1322" y="832"/>
                      <a:pt x="1322" y="832"/>
                      <a:pt x="1322" y="832"/>
                    </a:cubicBezTo>
                    <a:cubicBezTo>
                      <a:pt x="1322" y="832"/>
                      <a:pt x="1322" y="832"/>
                      <a:pt x="1322" y="832"/>
                    </a:cubicBezTo>
                    <a:close/>
                    <a:moveTo>
                      <a:pt x="122" y="508"/>
                    </a:moveTo>
                    <a:cubicBezTo>
                      <a:pt x="111" y="504"/>
                      <a:pt x="100" y="498"/>
                      <a:pt x="90" y="492"/>
                    </a:cubicBezTo>
                    <a:cubicBezTo>
                      <a:pt x="16" y="746"/>
                      <a:pt x="2" y="791"/>
                      <a:pt x="0" y="800"/>
                    </a:cubicBezTo>
                    <a:cubicBezTo>
                      <a:pt x="12" y="801"/>
                      <a:pt x="24" y="805"/>
                      <a:pt x="33" y="812"/>
                    </a:cubicBezTo>
                    <a:cubicBezTo>
                      <a:pt x="122" y="508"/>
                      <a:pt x="122" y="508"/>
                      <a:pt x="122" y="508"/>
                    </a:cubicBezTo>
                    <a:cubicBezTo>
                      <a:pt x="122" y="508"/>
                      <a:pt x="122" y="508"/>
                      <a:pt x="122" y="508"/>
                    </a:cubicBezTo>
                    <a:close/>
                    <a:moveTo>
                      <a:pt x="1608" y="1249"/>
                    </a:moveTo>
                    <a:cubicBezTo>
                      <a:pt x="1607" y="1244"/>
                      <a:pt x="1607" y="1238"/>
                      <a:pt x="1607" y="1233"/>
                    </a:cubicBezTo>
                    <a:cubicBezTo>
                      <a:pt x="1264" y="1300"/>
                      <a:pt x="1104" y="1333"/>
                      <a:pt x="1028" y="1347"/>
                    </a:cubicBezTo>
                    <a:cubicBezTo>
                      <a:pt x="1031" y="1358"/>
                      <a:pt x="1032" y="1370"/>
                      <a:pt x="1032" y="1381"/>
                    </a:cubicBezTo>
                    <a:cubicBezTo>
                      <a:pt x="1032" y="1382"/>
                      <a:pt x="1032" y="1382"/>
                      <a:pt x="1032" y="1383"/>
                    </a:cubicBezTo>
                    <a:cubicBezTo>
                      <a:pt x="1614" y="1268"/>
                      <a:pt x="1614" y="1268"/>
                      <a:pt x="1614" y="1268"/>
                    </a:cubicBezTo>
                    <a:cubicBezTo>
                      <a:pt x="1611" y="1263"/>
                      <a:pt x="1609" y="1256"/>
                      <a:pt x="1608" y="1249"/>
                    </a:cubicBezTo>
                    <a:close/>
                    <a:moveTo>
                      <a:pt x="1254" y="907"/>
                    </a:moveTo>
                    <a:cubicBezTo>
                      <a:pt x="981" y="834"/>
                      <a:pt x="835" y="795"/>
                      <a:pt x="758" y="774"/>
                    </a:cubicBezTo>
                    <a:cubicBezTo>
                      <a:pt x="757" y="786"/>
                      <a:pt x="753" y="798"/>
                      <a:pt x="748" y="809"/>
                    </a:cubicBezTo>
                    <a:cubicBezTo>
                      <a:pt x="1042" y="889"/>
                      <a:pt x="1179" y="926"/>
                      <a:pt x="1243" y="944"/>
                    </a:cubicBezTo>
                    <a:cubicBezTo>
                      <a:pt x="1245" y="930"/>
                      <a:pt x="1249" y="919"/>
                      <a:pt x="1254" y="907"/>
                    </a:cubicBezTo>
                    <a:close/>
                    <a:moveTo>
                      <a:pt x="1007" y="385"/>
                    </a:moveTo>
                    <a:cubicBezTo>
                      <a:pt x="998" y="376"/>
                      <a:pt x="991" y="366"/>
                      <a:pt x="985" y="356"/>
                    </a:cubicBezTo>
                    <a:cubicBezTo>
                      <a:pt x="838" y="495"/>
                      <a:pt x="753" y="575"/>
                      <a:pt x="705" y="621"/>
                    </a:cubicBezTo>
                    <a:cubicBezTo>
                      <a:pt x="714" y="629"/>
                      <a:pt x="722" y="638"/>
                      <a:pt x="729" y="647"/>
                    </a:cubicBezTo>
                    <a:cubicBezTo>
                      <a:pt x="1007" y="385"/>
                      <a:pt x="1007" y="385"/>
                      <a:pt x="1007" y="385"/>
                    </a:cubicBezTo>
                    <a:cubicBezTo>
                      <a:pt x="1007" y="385"/>
                      <a:pt x="1007" y="385"/>
                      <a:pt x="1007" y="385"/>
                    </a:cubicBezTo>
                    <a:close/>
                    <a:moveTo>
                      <a:pt x="1663" y="1161"/>
                    </a:moveTo>
                    <a:cubicBezTo>
                      <a:pt x="1669" y="1159"/>
                      <a:pt x="1676" y="1158"/>
                      <a:pt x="1682" y="1158"/>
                    </a:cubicBezTo>
                    <a:cubicBezTo>
                      <a:pt x="1688" y="1158"/>
                      <a:pt x="1694" y="1158"/>
                      <a:pt x="1699" y="1160"/>
                    </a:cubicBezTo>
                    <a:cubicBezTo>
                      <a:pt x="1746" y="942"/>
                      <a:pt x="1753" y="911"/>
                      <a:pt x="1753" y="907"/>
                    </a:cubicBezTo>
                    <a:cubicBezTo>
                      <a:pt x="1741" y="906"/>
                      <a:pt x="1729" y="902"/>
                      <a:pt x="1719" y="895"/>
                    </a:cubicBezTo>
                    <a:cubicBezTo>
                      <a:pt x="1679" y="1082"/>
                      <a:pt x="1666" y="1142"/>
                      <a:pt x="1663" y="1161"/>
                    </a:cubicBezTo>
                    <a:close/>
                    <a:moveTo>
                      <a:pt x="685" y="1285"/>
                    </a:moveTo>
                    <a:cubicBezTo>
                      <a:pt x="590" y="1224"/>
                      <a:pt x="508" y="1172"/>
                      <a:pt x="439" y="1126"/>
                    </a:cubicBezTo>
                    <a:cubicBezTo>
                      <a:pt x="434" y="1139"/>
                      <a:pt x="428" y="1150"/>
                      <a:pt x="419" y="1158"/>
                    </a:cubicBezTo>
                    <a:cubicBezTo>
                      <a:pt x="668" y="1322"/>
                      <a:pt x="668" y="1322"/>
                      <a:pt x="668" y="1322"/>
                    </a:cubicBezTo>
                    <a:cubicBezTo>
                      <a:pt x="672" y="1309"/>
                      <a:pt x="678" y="1297"/>
                      <a:pt x="685" y="1285"/>
                    </a:cubicBezTo>
                    <a:close/>
                    <a:moveTo>
                      <a:pt x="265" y="1451"/>
                    </a:moveTo>
                    <a:cubicBezTo>
                      <a:pt x="769" y="1703"/>
                      <a:pt x="805" y="1720"/>
                      <a:pt x="808" y="1721"/>
                    </a:cubicBezTo>
                    <a:cubicBezTo>
                      <a:pt x="808" y="1709"/>
                      <a:pt x="813" y="1697"/>
                      <a:pt x="819" y="1686"/>
                    </a:cubicBezTo>
                    <a:cubicBezTo>
                      <a:pt x="452" y="1502"/>
                      <a:pt x="329" y="1441"/>
                      <a:pt x="288" y="1421"/>
                    </a:cubicBezTo>
                    <a:cubicBezTo>
                      <a:pt x="282" y="1433"/>
                      <a:pt x="275" y="1442"/>
                      <a:pt x="265" y="1451"/>
                    </a:cubicBezTo>
                    <a:close/>
                    <a:moveTo>
                      <a:pt x="949" y="1692"/>
                    </a:moveTo>
                    <a:cubicBezTo>
                      <a:pt x="954" y="1701"/>
                      <a:pt x="956" y="1712"/>
                      <a:pt x="956" y="1723"/>
                    </a:cubicBezTo>
                    <a:cubicBezTo>
                      <a:pt x="956" y="1725"/>
                      <a:pt x="956" y="1727"/>
                      <a:pt x="956" y="1728"/>
                    </a:cubicBezTo>
                    <a:cubicBezTo>
                      <a:pt x="1404" y="1546"/>
                      <a:pt x="1404" y="1546"/>
                      <a:pt x="1404" y="1546"/>
                    </a:cubicBezTo>
                    <a:cubicBezTo>
                      <a:pt x="1398" y="1536"/>
                      <a:pt x="1393" y="1524"/>
                      <a:pt x="1393" y="1511"/>
                    </a:cubicBezTo>
                    <a:cubicBezTo>
                      <a:pt x="949" y="1692"/>
                      <a:pt x="949" y="1692"/>
                      <a:pt x="949" y="1692"/>
                    </a:cubicBezTo>
                    <a:cubicBezTo>
                      <a:pt x="949" y="1692"/>
                      <a:pt x="949" y="1692"/>
                      <a:pt x="949" y="1692"/>
                    </a:cubicBezTo>
                    <a:close/>
                    <a:moveTo>
                      <a:pt x="1617" y="1273"/>
                    </a:moveTo>
                    <a:cubicBezTo>
                      <a:pt x="1536" y="1383"/>
                      <a:pt x="1510" y="1419"/>
                      <a:pt x="1500" y="1432"/>
                    </a:cubicBezTo>
                    <a:cubicBezTo>
                      <a:pt x="1511" y="1437"/>
                      <a:pt x="1521" y="1445"/>
                      <a:pt x="1527" y="1455"/>
                    </a:cubicBezTo>
                    <a:cubicBezTo>
                      <a:pt x="1641" y="1300"/>
                      <a:pt x="1641" y="1300"/>
                      <a:pt x="1641" y="1300"/>
                    </a:cubicBezTo>
                    <a:cubicBezTo>
                      <a:pt x="1630" y="1293"/>
                      <a:pt x="1622" y="1284"/>
                      <a:pt x="1617" y="1273"/>
                    </a:cubicBezTo>
                    <a:close/>
                    <a:moveTo>
                      <a:pt x="1497" y="262"/>
                    </a:moveTo>
                    <a:cubicBezTo>
                      <a:pt x="1235" y="83"/>
                      <a:pt x="1194" y="55"/>
                      <a:pt x="1188" y="51"/>
                    </a:cubicBezTo>
                    <a:cubicBezTo>
                      <a:pt x="1182" y="62"/>
                      <a:pt x="1174" y="72"/>
                      <a:pt x="1164" y="79"/>
                    </a:cubicBezTo>
                    <a:cubicBezTo>
                      <a:pt x="1430" y="262"/>
                      <a:pt x="1470" y="289"/>
                      <a:pt x="1476" y="293"/>
                    </a:cubicBezTo>
                    <a:cubicBezTo>
                      <a:pt x="1481" y="281"/>
                      <a:pt x="1488" y="272"/>
                      <a:pt x="1497" y="262"/>
                    </a:cubicBezTo>
                    <a:close/>
                    <a:moveTo>
                      <a:pt x="616" y="322"/>
                    </a:moveTo>
                    <a:cubicBezTo>
                      <a:pt x="612" y="323"/>
                      <a:pt x="606" y="323"/>
                      <a:pt x="602" y="323"/>
                    </a:cubicBezTo>
                    <a:cubicBezTo>
                      <a:pt x="593" y="323"/>
                      <a:pt x="585" y="322"/>
                      <a:pt x="578" y="320"/>
                    </a:cubicBezTo>
                    <a:cubicBezTo>
                      <a:pt x="578" y="450"/>
                      <a:pt x="578" y="532"/>
                      <a:pt x="578" y="584"/>
                    </a:cubicBezTo>
                    <a:cubicBezTo>
                      <a:pt x="584" y="583"/>
                      <a:pt x="591" y="583"/>
                      <a:pt x="598" y="583"/>
                    </a:cubicBezTo>
                    <a:cubicBezTo>
                      <a:pt x="604" y="583"/>
                      <a:pt x="610" y="583"/>
                      <a:pt x="616" y="584"/>
                    </a:cubicBezTo>
                    <a:cubicBezTo>
                      <a:pt x="616" y="362"/>
                      <a:pt x="616" y="328"/>
                      <a:pt x="616" y="322"/>
                    </a:cubicBezTo>
                    <a:close/>
                    <a:moveTo>
                      <a:pt x="784" y="1205"/>
                    </a:moveTo>
                    <a:cubicBezTo>
                      <a:pt x="725" y="1044"/>
                      <a:pt x="725" y="1044"/>
                      <a:pt x="725" y="1044"/>
                    </a:cubicBezTo>
                    <a:cubicBezTo>
                      <a:pt x="699" y="975"/>
                      <a:pt x="681" y="926"/>
                      <a:pt x="668" y="891"/>
                    </a:cubicBezTo>
                    <a:cubicBezTo>
                      <a:pt x="657" y="897"/>
                      <a:pt x="646" y="901"/>
                      <a:pt x="634" y="904"/>
                    </a:cubicBezTo>
                    <a:cubicBezTo>
                      <a:pt x="697" y="1073"/>
                      <a:pt x="731" y="1167"/>
                      <a:pt x="751" y="1220"/>
                    </a:cubicBezTo>
                    <a:cubicBezTo>
                      <a:pt x="762" y="1214"/>
                      <a:pt x="772" y="1209"/>
                      <a:pt x="784" y="1205"/>
                    </a:cubicBezTo>
                    <a:close/>
                    <a:moveTo>
                      <a:pt x="33" y="919"/>
                    </a:moveTo>
                    <a:cubicBezTo>
                      <a:pt x="25" y="924"/>
                      <a:pt x="15" y="928"/>
                      <a:pt x="5" y="929"/>
                    </a:cubicBezTo>
                    <a:cubicBezTo>
                      <a:pt x="124" y="1298"/>
                      <a:pt x="124" y="1298"/>
                      <a:pt x="124" y="1298"/>
                    </a:cubicBezTo>
                    <a:cubicBezTo>
                      <a:pt x="129" y="1296"/>
                      <a:pt x="134" y="1293"/>
                      <a:pt x="140" y="1291"/>
                    </a:cubicBezTo>
                    <a:cubicBezTo>
                      <a:pt x="145" y="1287"/>
                      <a:pt x="151" y="1285"/>
                      <a:pt x="157" y="1282"/>
                    </a:cubicBezTo>
                    <a:cubicBezTo>
                      <a:pt x="39" y="915"/>
                      <a:pt x="39" y="915"/>
                      <a:pt x="39" y="915"/>
                    </a:cubicBezTo>
                    <a:cubicBezTo>
                      <a:pt x="37" y="917"/>
                      <a:pt x="35" y="917"/>
                      <a:pt x="33" y="919"/>
                    </a:cubicBezTo>
                    <a:close/>
                    <a:moveTo>
                      <a:pt x="1687" y="847"/>
                    </a:moveTo>
                    <a:cubicBezTo>
                      <a:pt x="1687" y="846"/>
                      <a:pt x="1686" y="843"/>
                      <a:pt x="1686" y="841"/>
                    </a:cubicBezTo>
                    <a:cubicBezTo>
                      <a:pt x="1613" y="867"/>
                      <a:pt x="1565" y="883"/>
                      <a:pt x="1535" y="894"/>
                    </a:cubicBezTo>
                    <a:cubicBezTo>
                      <a:pt x="1541" y="905"/>
                      <a:pt x="1545" y="916"/>
                      <a:pt x="1548" y="927"/>
                    </a:cubicBezTo>
                    <a:cubicBezTo>
                      <a:pt x="1699" y="874"/>
                      <a:pt x="1699" y="874"/>
                      <a:pt x="1699" y="874"/>
                    </a:cubicBezTo>
                    <a:cubicBezTo>
                      <a:pt x="1693" y="867"/>
                      <a:pt x="1689" y="857"/>
                      <a:pt x="1687" y="847"/>
                    </a:cubicBezTo>
                    <a:close/>
                    <a:moveTo>
                      <a:pt x="1030" y="1414"/>
                    </a:moveTo>
                    <a:cubicBezTo>
                      <a:pt x="1029" y="1426"/>
                      <a:pt x="1025" y="1438"/>
                      <a:pt x="1021" y="1449"/>
                    </a:cubicBezTo>
                    <a:cubicBezTo>
                      <a:pt x="1342" y="1497"/>
                      <a:pt x="1385" y="1503"/>
                      <a:pt x="1391" y="1504"/>
                    </a:cubicBezTo>
                    <a:cubicBezTo>
                      <a:pt x="1391" y="1503"/>
                      <a:pt x="1391" y="1500"/>
                      <a:pt x="1391" y="1498"/>
                    </a:cubicBezTo>
                    <a:cubicBezTo>
                      <a:pt x="1391" y="1487"/>
                      <a:pt x="1394" y="1477"/>
                      <a:pt x="1397" y="1469"/>
                    </a:cubicBezTo>
                    <a:cubicBezTo>
                      <a:pt x="1194" y="1438"/>
                      <a:pt x="1087" y="1422"/>
                      <a:pt x="1030" y="1414"/>
                    </a:cubicBezTo>
                    <a:close/>
                    <a:moveTo>
                      <a:pt x="58" y="884"/>
                    </a:moveTo>
                    <a:cubicBezTo>
                      <a:pt x="57" y="884"/>
                      <a:pt x="57" y="884"/>
                      <a:pt x="57" y="885"/>
                    </a:cubicBezTo>
                    <a:cubicBezTo>
                      <a:pt x="57" y="886"/>
                      <a:pt x="57" y="886"/>
                      <a:pt x="57" y="886"/>
                    </a:cubicBezTo>
                    <a:cubicBezTo>
                      <a:pt x="54" y="895"/>
                      <a:pt x="49" y="903"/>
                      <a:pt x="43" y="910"/>
                    </a:cubicBezTo>
                    <a:cubicBezTo>
                      <a:pt x="280" y="1065"/>
                      <a:pt x="280" y="1065"/>
                      <a:pt x="280" y="1065"/>
                    </a:cubicBezTo>
                    <a:cubicBezTo>
                      <a:pt x="285" y="1053"/>
                      <a:pt x="293" y="1043"/>
                      <a:pt x="302" y="1035"/>
                    </a:cubicBezTo>
                    <a:cubicBezTo>
                      <a:pt x="119" y="917"/>
                      <a:pt x="60" y="877"/>
                      <a:pt x="60" y="877"/>
                    </a:cubicBezTo>
                    <a:cubicBezTo>
                      <a:pt x="59" y="879"/>
                      <a:pt x="58" y="881"/>
                      <a:pt x="58" y="884"/>
                    </a:cubicBezTo>
                    <a:close/>
                    <a:moveTo>
                      <a:pt x="1741" y="759"/>
                    </a:moveTo>
                    <a:cubicBezTo>
                      <a:pt x="1644" y="480"/>
                      <a:pt x="1632" y="445"/>
                      <a:pt x="1631" y="441"/>
                    </a:cubicBezTo>
                    <a:cubicBezTo>
                      <a:pt x="1620" y="447"/>
                      <a:pt x="1608" y="451"/>
                      <a:pt x="1596" y="453"/>
                    </a:cubicBezTo>
                    <a:cubicBezTo>
                      <a:pt x="1689" y="722"/>
                      <a:pt x="1705" y="769"/>
                      <a:pt x="1708" y="777"/>
                    </a:cubicBezTo>
                    <a:cubicBezTo>
                      <a:pt x="1717" y="769"/>
                      <a:pt x="1729" y="762"/>
                      <a:pt x="1741" y="759"/>
                    </a:cubicBezTo>
                    <a:close/>
                    <a:moveTo>
                      <a:pt x="1528" y="1075"/>
                    </a:moveTo>
                    <a:cubicBezTo>
                      <a:pt x="1526" y="1073"/>
                      <a:pt x="1523" y="1069"/>
                      <a:pt x="1520" y="1067"/>
                    </a:cubicBezTo>
                    <a:cubicBezTo>
                      <a:pt x="1513" y="1077"/>
                      <a:pt x="1504" y="1085"/>
                      <a:pt x="1495" y="1093"/>
                    </a:cubicBezTo>
                    <a:cubicBezTo>
                      <a:pt x="1594" y="1195"/>
                      <a:pt x="1594" y="1195"/>
                      <a:pt x="1594" y="1195"/>
                    </a:cubicBezTo>
                    <a:cubicBezTo>
                      <a:pt x="1602" y="1204"/>
                      <a:pt x="1607" y="1209"/>
                      <a:pt x="1610" y="1211"/>
                    </a:cubicBezTo>
                    <a:cubicBezTo>
                      <a:pt x="1613" y="1199"/>
                      <a:pt x="1620" y="1188"/>
                      <a:pt x="1629" y="1179"/>
                    </a:cubicBezTo>
                    <a:cubicBezTo>
                      <a:pt x="1529" y="1075"/>
                      <a:pt x="1528" y="1075"/>
                      <a:pt x="1528" y="1075"/>
                    </a:cubicBezTo>
                    <a:close/>
                    <a:moveTo>
                      <a:pt x="332" y="1181"/>
                    </a:moveTo>
                    <a:cubicBezTo>
                      <a:pt x="321" y="1178"/>
                      <a:pt x="311" y="1172"/>
                      <a:pt x="302" y="1164"/>
                    </a:cubicBezTo>
                    <a:cubicBezTo>
                      <a:pt x="236" y="1282"/>
                      <a:pt x="236" y="1282"/>
                      <a:pt x="236" y="1282"/>
                    </a:cubicBezTo>
                    <a:cubicBezTo>
                      <a:pt x="248" y="1287"/>
                      <a:pt x="258" y="1293"/>
                      <a:pt x="266" y="1302"/>
                    </a:cubicBezTo>
                    <a:cubicBezTo>
                      <a:pt x="332" y="1181"/>
                      <a:pt x="332" y="1181"/>
                      <a:pt x="332" y="1181"/>
                    </a:cubicBezTo>
                    <a:cubicBezTo>
                      <a:pt x="332" y="1181"/>
                      <a:pt x="332" y="1181"/>
                      <a:pt x="332" y="1181"/>
                    </a:cubicBezTo>
                    <a:close/>
                    <a:moveTo>
                      <a:pt x="479" y="636"/>
                    </a:moveTo>
                    <a:cubicBezTo>
                      <a:pt x="279" y="486"/>
                      <a:pt x="246" y="462"/>
                      <a:pt x="240" y="457"/>
                    </a:cubicBezTo>
                    <a:cubicBezTo>
                      <a:pt x="235" y="468"/>
                      <a:pt x="228" y="478"/>
                      <a:pt x="218" y="486"/>
                    </a:cubicBezTo>
                    <a:cubicBezTo>
                      <a:pt x="314" y="558"/>
                      <a:pt x="314" y="558"/>
                      <a:pt x="314" y="558"/>
                    </a:cubicBezTo>
                    <a:cubicBezTo>
                      <a:pt x="379" y="607"/>
                      <a:pt x="425" y="641"/>
                      <a:pt x="457" y="665"/>
                    </a:cubicBezTo>
                    <a:cubicBezTo>
                      <a:pt x="463" y="654"/>
                      <a:pt x="470" y="645"/>
                      <a:pt x="479" y="636"/>
                    </a:cubicBezTo>
                    <a:close/>
                    <a:moveTo>
                      <a:pt x="1455" y="824"/>
                    </a:moveTo>
                    <a:cubicBezTo>
                      <a:pt x="1552" y="492"/>
                      <a:pt x="1563" y="457"/>
                      <a:pt x="1564" y="454"/>
                    </a:cubicBezTo>
                    <a:cubicBezTo>
                      <a:pt x="1552" y="452"/>
                      <a:pt x="1539" y="449"/>
                      <a:pt x="1528" y="443"/>
                    </a:cubicBezTo>
                    <a:cubicBezTo>
                      <a:pt x="1467" y="653"/>
                      <a:pt x="1435" y="760"/>
                      <a:pt x="1419" y="814"/>
                    </a:cubicBezTo>
                    <a:cubicBezTo>
                      <a:pt x="1432" y="817"/>
                      <a:pt x="1444" y="819"/>
                      <a:pt x="1455" y="824"/>
                    </a:cubicBezTo>
                    <a:close/>
                    <a:moveTo>
                      <a:pt x="437" y="761"/>
                    </a:moveTo>
                    <a:cubicBezTo>
                      <a:pt x="52" y="832"/>
                      <a:pt x="52" y="832"/>
                      <a:pt x="52" y="832"/>
                    </a:cubicBezTo>
                    <a:cubicBezTo>
                      <a:pt x="56" y="839"/>
                      <a:pt x="60" y="848"/>
                      <a:pt x="60" y="857"/>
                    </a:cubicBezTo>
                    <a:cubicBezTo>
                      <a:pt x="60" y="859"/>
                      <a:pt x="61" y="863"/>
                      <a:pt x="61" y="865"/>
                    </a:cubicBezTo>
                    <a:cubicBezTo>
                      <a:pt x="61" y="866"/>
                      <a:pt x="61" y="866"/>
                      <a:pt x="61" y="866"/>
                    </a:cubicBezTo>
                    <a:cubicBezTo>
                      <a:pt x="262" y="829"/>
                      <a:pt x="377" y="808"/>
                      <a:pt x="444" y="796"/>
                    </a:cubicBezTo>
                    <a:cubicBezTo>
                      <a:pt x="441" y="785"/>
                      <a:pt x="438" y="774"/>
                      <a:pt x="437" y="761"/>
                    </a:cubicBezTo>
                    <a:close/>
                    <a:moveTo>
                      <a:pt x="638" y="184"/>
                    </a:moveTo>
                    <a:cubicBezTo>
                      <a:pt x="666" y="102"/>
                      <a:pt x="666" y="102"/>
                      <a:pt x="666" y="102"/>
                    </a:cubicBezTo>
                    <a:cubicBezTo>
                      <a:pt x="670" y="86"/>
                      <a:pt x="671" y="82"/>
                      <a:pt x="672" y="82"/>
                    </a:cubicBezTo>
                    <a:cubicBezTo>
                      <a:pt x="659" y="81"/>
                      <a:pt x="648" y="76"/>
                      <a:pt x="637" y="70"/>
                    </a:cubicBezTo>
                    <a:cubicBezTo>
                      <a:pt x="611" y="151"/>
                      <a:pt x="604" y="170"/>
                      <a:pt x="603" y="175"/>
                    </a:cubicBezTo>
                    <a:cubicBezTo>
                      <a:pt x="615" y="175"/>
                      <a:pt x="627" y="178"/>
                      <a:pt x="638" y="184"/>
                    </a:cubicBezTo>
                    <a:close/>
                    <a:moveTo>
                      <a:pt x="1281" y="1078"/>
                    </a:moveTo>
                    <a:cubicBezTo>
                      <a:pt x="1274" y="1069"/>
                      <a:pt x="1266" y="1059"/>
                      <a:pt x="1260" y="1049"/>
                    </a:cubicBezTo>
                    <a:cubicBezTo>
                      <a:pt x="1114" y="1163"/>
                      <a:pt x="1033" y="1228"/>
                      <a:pt x="989" y="1262"/>
                    </a:cubicBezTo>
                    <a:cubicBezTo>
                      <a:pt x="996" y="1272"/>
                      <a:pt x="1004" y="1282"/>
                      <a:pt x="1010" y="1293"/>
                    </a:cubicBezTo>
                    <a:cubicBezTo>
                      <a:pt x="1281" y="1078"/>
                      <a:pt x="1281" y="1078"/>
                      <a:pt x="1281" y="1078"/>
                    </a:cubicBezTo>
                    <a:cubicBezTo>
                      <a:pt x="1281" y="1078"/>
                      <a:pt x="1281" y="1078"/>
                      <a:pt x="1281" y="1078"/>
                    </a:cubicBezTo>
                    <a:close/>
                    <a:moveTo>
                      <a:pt x="250" y="381"/>
                    </a:moveTo>
                    <a:cubicBezTo>
                      <a:pt x="493" y="302"/>
                      <a:pt x="532" y="290"/>
                      <a:pt x="539" y="287"/>
                    </a:cubicBezTo>
                    <a:cubicBezTo>
                      <a:pt x="532" y="277"/>
                      <a:pt x="529" y="265"/>
                      <a:pt x="528" y="253"/>
                    </a:cubicBezTo>
                    <a:cubicBezTo>
                      <a:pt x="243" y="346"/>
                      <a:pt x="243" y="346"/>
                      <a:pt x="243" y="346"/>
                    </a:cubicBezTo>
                    <a:cubicBezTo>
                      <a:pt x="577" y="108"/>
                      <a:pt x="626" y="73"/>
                      <a:pt x="632" y="67"/>
                    </a:cubicBezTo>
                    <a:cubicBezTo>
                      <a:pt x="623" y="61"/>
                      <a:pt x="615" y="51"/>
                      <a:pt x="610" y="40"/>
                    </a:cubicBezTo>
                    <a:cubicBezTo>
                      <a:pt x="265" y="285"/>
                      <a:pt x="216" y="321"/>
                      <a:pt x="209" y="326"/>
                    </a:cubicBezTo>
                    <a:cubicBezTo>
                      <a:pt x="229" y="338"/>
                      <a:pt x="244" y="359"/>
                      <a:pt x="250" y="381"/>
                    </a:cubicBezTo>
                    <a:close/>
                    <a:moveTo>
                      <a:pt x="661" y="1414"/>
                    </a:moveTo>
                    <a:cubicBezTo>
                      <a:pt x="659" y="1404"/>
                      <a:pt x="658" y="1392"/>
                      <a:pt x="658" y="1381"/>
                    </a:cubicBezTo>
                    <a:cubicBezTo>
                      <a:pt x="658" y="1381"/>
                      <a:pt x="658" y="1379"/>
                      <a:pt x="658" y="1377"/>
                    </a:cubicBezTo>
                    <a:cubicBezTo>
                      <a:pt x="648" y="1377"/>
                      <a:pt x="648" y="1377"/>
                      <a:pt x="648" y="1377"/>
                    </a:cubicBezTo>
                    <a:cubicBezTo>
                      <a:pt x="469" y="1372"/>
                      <a:pt x="360" y="1369"/>
                      <a:pt x="299" y="1367"/>
                    </a:cubicBezTo>
                    <a:cubicBezTo>
                      <a:pt x="299" y="1369"/>
                      <a:pt x="299" y="1372"/>
                      <a:pt x="299" y="1375"/>
                    </a:cubicBezTo>
                    <a:cubicBezTo>
                      <a:pt x="299" y="1385"/>
                      <a:pt x="299" y="1394"/>
                      <a:pt x="296" y="1403"/>
                    </a:cubicBezTo>
                    <a:cubicBezTo>
                      <a:pt x="496" y="1409"/>
                      <a:pt x="604" y="1412"/>
                      <a:pt x="661" y="1414"/>
                    </a:cubicBezTo>
                    <a:close/>
                    <a:moveTo>
                      <a:pt x="661" y="202"/>
                    </a:moveTo>
                    <a:cubicBezTo>
                      <a:pt x="671" y="215"/>
                      <a:pt x="677" y="231"/>
                      <a:pt x="677" y="249"/>
                    </a:cubicBezTo>
                    <a:cubicBezTo>
                      <a:pt x="677" y="255"/>
                      <a:pt x="677" y="262"/>
                      <a:pt x="675" y="269"/>
                    </a:cubicBezTo>
                    <a:cubicBezTo>
                      <a:pt x="837" y="273"/>
                      <a:pt x="920" y="275"/>
                      <a:pt x="965" y="277"/>
                    </a:cubicBezTo>
                    <a:cubicBezTo>
                      <a:pt x="965" y="264"/>
                      <a:pt x="967" y="252"/>
                      <a:pt x="970" y="241"/>
                    </a:cubicBezTo>
                    <a:cubicBezTo>
                      <a:pt x="682" y="233"/>
                      <a:pt x="682" y="233"/>
                      <a:pt x="682" y="233"/>
                    </a:cubicBezTo>
                    <a:cubicBezTo>
                      <a:pt x="1063" y="69"/>
                      <a:pt x="1063" y="69"/>
                      <a:pt x="1063" y="69"/>
                    </a:cubicBezTo>
                    <a:cubicBezTo>
                      <a:pt x="1053" y="56"/>
                      <a:pt x="1046" y="40"/>
                      <a:pt x="1046" y="21"/>
                    </a:cubicBezTo>
                    <a:cubicBezTo>
                      <a:pt x="1046" y="16"/>
                      <a:pt x="1047" y="12"/>
                      <a:pt x="1047" y="7"/>
                    </a:cubicBezTo>
                    <a:cubicBezTo>
                      <a:pt x="794" y="1"/>
                      <a:pt x="759" y="0"/>
                      <a:pt x="754" y="0"/>
                    </a:cubicBezTo>
                    <a:cubicBezTo>
                      <a:pt x="754" y="3"/>
                      <a:pt x="754" y="6"/>
                      <a:pt x="754" y="9"/>
                    </a:cubicBezTo>
                    <a:cubicBezTo>
                      <a:pt x="754" y="18"/>
                      <a:pt x="753" y="25"/>
                      <a:pt x="750" y="33"/>
                    </a:cubicBezTo>
                    <a:cubicBezTo>
                      <a:pt x="749" y="34"/>
                      <a:pt x="749" y="34"/>
                      <a:pt x="749" y="36"/>
                    </a:cubicBezTo>
                    <a:cubicBezTo>
                      <a:pt x="1034" y="41"/>
                      <a:pt x="1034" y="41"/>
                      <a:pt x="1034" y="41"/>
                    </a:cubicBezTo>
                    <a:cubicBezTo>
                      <a:pt x="710" y="181"/>
                      <a:pt x="666" y="200"/>
                      <a:pt x="661" y="202"/>
                    </a:cubicBezTo>
                    <a:close/>
                    <a:moveTo>
                      <a:pt x="1466" y="338"/>
                    </a:moveTo>
                    <a:cubicBezTo>
                      <a:pt x="1466" y="326"/>
                      <a:pt x="1469" y="314"/>
                      <a:pt x="1473" y="302"/>
                    </a:cubicBezTo>
                    <a:cubicBezTo>
                      <a:pt x="1363" y="285"/>
                      <a:pt x="1299" y="275"/>
                      <a:pt x="1261" y="269"/>
                    </a:cubicBezTo>
                    <a:cubicBezTo>
                      <a:pt x="1261" y="273"/>
                      <a:pt x="1262" y="277"/>
                      <a:pt x="1262" y="281"/>
                    </a:cubicBezTo>
                    <a:cubicBezTo>
                      <a:pt x="1262" y="289"/>
                      <a:pt x="1261" y="297"/>
                      <a:pt x="1260" y="306"/>
                    </a:cubicBezTo>
                    <a:cubicBezTo>
                      <a:pt x="1466" y="338"/>
                      <a:pt x="1466" y="338"/>
                      <a:pt x="1466" y="338"/>
                    </a:cubicBezTo>
                    <a:cubicBezTo>
                      <a:pt x="1466" y="338"/>
                      <a:pt x="1466" y="338"/>
                      <a:pt x="1466" y="338"/>
                    </a:cubicBezTo>
                    <a:close/>
                  </a:path>
                </a:pathLst>
              </a:custGeom>
              <a:solidFill>
                <a:srgbClr val="0F243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7">
                <a:extLst>
                  <a:ext uri="{FF2B5EF4-FFF2-40B4-BE49-F238E27FC236}">
                    <a16:creationId xmlns:a16="http://schemas.microsoft.com/office/drawing/2014/main" id="{DF08E57C-44EC-450F-9FA8-0D5A266D6B3F}"/>
                  </a:ext>
                </a:extLst>
              </p:cNvPr>
              <p:cNvSpPr>
                <a:spLocks noEditPoints="1"/>
              </p:cNvSpPr>
              <p:nvPr/>
            </p:nvSpPr>
            <p:spPr bwMode="auto">
              <a:xfrm>
                <a:off x="5384121" y="2167342"/>
                <a:ext cx="1427329" cy="1397810"/>
              </a:xfrm>
              <a:custGeom>
                <a:avLst/>
                <a:gdLst>
                  <a:gd name="T0" fmla="*/ 367 w 1828"/>
                  <a:gd name="T1" fmla="*/ 1086 h 1790"/>
                  <a:gd name="T2" fmla="*/ 439 w 1828"/>
                  <a:gd name="T3" fmla="*/ 1133 h 1790"/>
                  <a:gd name="T4" fmla="*/ 1463 w 1828"/>
                  <a:gd name="T5" fmla="*/ 1527 h 1790"/>
                  <a:gd name="T6" fmla="*/ 295 w 1828"/>
                  <a:gd name="T7" fmla="*/ 1404 h 1790"/>
                  <a:gd name="T8" fmla="*/ 1025 w 1828"/>
                  <a:gd name="T9" fmla="*/ 1436 h 1790"/>
                  <a:gd name="T10" fmla="*/ 727 w 1828"/>
                  <a:gd name="T11" fmla="*/ 1408 h 1790"/>
                  <a:gd name="T12" fmla="*/ 877 w 1828"/>
                  <a:gd name="T13" fmla="*/ 1262 h 1790"/>
                  <a:gd name="T14" fmla="*/ 970 w 1828"/>
                  <a:gd name="T15" fmla="*/ 1375 h 1790"/>
                  <a:gd name="T16" fmla="*/ 927 w 1828"/>
                  <a:gd name="T17" fmla="*/ 1318 h 1790"/>
                  <a:gd name="T18" fmla="*/ 885 w 1828"/>
                  <a:gd name="T19" fmla="*/ 1318 h 1790"/>
                  <a:gd name="T20" fmla="*/ 841 w 1828"/>
                  <a:gd name="T21" fmla="*/ 1340 h 1790"/>
                  <a:gd name="T22" fmla="*/ 806 w 1828"/>
                  <a:gd name="T23" fmla="*/ 1362 h 1790"/>
                  <a:gd name="T24" fmla="*/ 777 w 1828"/>
                  <a:gd name="T25" fmla="*/ 1397 h 1790"/>
                  <a:gd name="T26" fmla="*/ 806 w 1828"/>
                  <a:gd name="T27" fmla="*/ 1432 h 1790"/>
                  <a:gd name="T28" fmla="*/ 808 w 1828"/>
                  <a:gd name="T29" fmla="*/ 1483 h 1790"/>
                  <a:gd name="T30" fmla="*/ 857 w 1828"/>
                  <a:gd name="T31" fmla="*/ 1504 h 1790"/>
                  <a:gd name="T32" fmla="*/ 898 w 1828"/>
                  <a:gd name="T33" fmla="*/ 1504 h 1790"/>
                  <a:gd name="T34" fmla="*/ 946 w 1828"/>
                  <a:gd name="T35" fmla="*/ 1483 h 1790"/>
                  <a:gd name="T36" fmla="*/ 949 w 1828"/>
                  <a:gd name="T37" fmla="*/ 1432 h 1790"/>
                  <a:gd name="T38" fmla="*/ 977 w 1828"/>
                  <a:gd name="T39" fmla="*/ 1397 h 1790"/>
                  <a:gd name="T40" fmla="*/ 1463 w 1828"/>
                  <a:gd name="T41" fmla="*/ 929 h 1790"/>
                  <a:gd name="T42" fmla="*/ 1465 w 1828"/>
                  <a:gd name="T43" fmla="*/ 931 h 1790"/>
                  <a:gd name="T44" fmla="*/ 1533 w 1828"/>
                  <a:gd name="T45" fmla="*/ 937 h 1790"/>
                  <a:gd name="T46" fmla="*/ 1322 w 1828"/>
                  <a:gd name="T47" fmla="*/ 1053 h 1790"/>
                  <a:gd name="T48" fmla="*/ 1443 w 1828"/>
                  <a:gd name="T49" fmla="*/ 881 h 1790"/>
                  <a:gd name="T50" fmla="*/ 1382 w 1828"/>
                  <a:gd name="T51" fmla="*/ 918 h 1790"/>
                  <a:gd name="T52" fmla="*/ 58 w 1828"/>
                  <a:gd name="T53" fmla="*/ 894 h 1790"/>
                  <a:gd name="T54" fmla="*/ 1756 w 1828"/>
                  <a:gd name="T55" fmla="*/ 860 h 1790"/>
                  <a:gd name="T56" fmla="*/ 559 w 1828"/>
                  <a:gd name="T57" fmla="*/ 779 h 1790"/>
                  <a:gd name="T58" fmla="*/ 608 w 1828"/>
                  <a:gd name="T59" fmla="*/ 812 h 1790"/>
                  <a:gd name="T60" fmla="*/ 613 w 1828"/>
                  <a:gd name="T61" fmla="*/ 809 h 1790"/>
                  <a:gd name="T62" fmla="*/ 588 w 1828"/>
                  <a:gd name="T63" fmla="*/ 814 h 1790"/>
                  <a:gd name="T64" fmla="*/ 561 w 1828"/>
                  <a:gd name="T65" fmla="*/ 761 h 1790"/>
                  <a:gd name="T66" fmla="*/ 559 w 1828"/>
                  <a:gd name="T67" fmla="*/ 765 h 1790"/>
                  <a:gd name="T68" fmla="*/ 565 w 1828"/>
                  <a:gd name="T69" fmla="*/ 759 h 1790"/>
                  <a:gd name="T70" fmla="*/ 613 w 1828"/>
                  <a:gd name="T71" fmla="*/ 764 h 1790"/>
                  <a:gd name="T72" fmla="*/ 608 w 1828"/>
                  <a:gd name="T73" fmla="*/ 760 h 1790"/>
                  <a:gd name="T74" fmla="*/ 588 w 1828"/>
                  <a:gd name="T75" fmla="*/ 772 h 1790"/>
                  <a:gd name="T76" fmla="*/ 744 w 1828"/>
                  <a:gd name="T77" fmla="*/ 827 h 1790"/>
                  <a:gd name="T78" fmla="*/ 521 w 1828"/>
                  <a:gd name="T79" fmla="*/ 716 h 1790"/>
                  <a:gd name="T80" fmla="*/ 756 w 1828"/>
                  <a:gd name="T81" fmla="*/ 774 h 1790"/>
                  <a:gd name="T82" fmla="*/ 580 w 1828"/>
                  <a:gd name="T83" fmla="*/ 721 h 1790"/>
                  <a:gd name="T84" fmla="*/ 564 w 1828"/>
                  <a:gd name="T85" fmla="*/ 826 h 1790"/>
                  <a:gd name="T86" fmla="*/ 559 w 1828"/>
                  <a:gd name="T87" fmla="*/ 807 h 1790"/>
                  <a:gd name="T88" fmla="*/ 560 w 1828"/>
                  <a:gd name="T89" fmla="*/ 810 h 1790"/>
                  <a:gd name="T90" fmla="*/ 565 w 1828"/>
                  <a:gd name="T91" fmla="*/ 813 h 1790"/>
                  <a:gd name="T92" fmla="*/ 121 w 1828"/>
                  <a:gd name="T93" fmla="*/ 439 h 1790"/>
                  <a:gd name="T94" fmla="*/ 1687 w 1828"/>
                  <a:gd name="T95" fmla="*/ 371 h 1790"/>
                  <a:gd name="T96" fmla="*/ 1206 w 1828"/>
                  <a:gd name="T97" fmla="*/ 406 h 1790"/>
                  <a:gd name="T98" fmla="*/ 1041 w 1828"/>
                  <a:gd name="T99" fmla="*/ 272 h 1790"/>
                  <a:gd name="T100" fmla="*/ 1181 w 1828"/>
                  <a:gd name="T101" fmla="*/ 347 h 1790"/>
                  <a:gd name="T102" fmla="*/ 1170 w 1828"/>
                  <a:gd name="T103" fmla="*/ 345 h 1790"/>
                  <a:gd name="T104" fmla="*/ 1090 w 1828"/>
                  <a:gd name="T105" fmla="*/ 330 h 1790"/>
                  <a:gd name="T106" fmla="*/ 1225 w 1828"/>
                  <a:gd name="T107" fmla="*/ 300 h 1790"/>
                  <a:gd name="T108" fmla="*/ 1219 w 1828"/>
                  <a:gd name="T109" fmla="*/ 314 h 1790"/>
                  <a:gd name="T110" fmla="*/ 1116 w 1828"/>
                  <a:gd name="T111" fmla="*/ 48 h 1790"/>
                  <a:gd name="T112" fmla="*/ 749 w 1828"/>
                  <a:gd name="T113" fmla="*/ 37 h 1790"/>
                  <a:gd name="T114" fmla="*/ 886 w 1828"/>
                  <a:gd name="T115" fmla="*/ 1363 h 1790"/>
                  <a:gd name="T116" fmla="*/ 832 w 1828"/>
                  <a:gd name="T117" fmla="*/ 1374 h 1790"/>
                  <a:gd name="T118" fmla="*/ 832 w 1828"/>
                  <a:gd name="T119" fmla="*/ 1451 h 1790"/>
                  <a:gd name="T120" fmla="*/ 886 w 1828"/>
                  <a:gd name="T121" fmla="*/ 1461 h 1790"/>
                  <a:gd name="T122" fmla="*/ 926 w 1828"/>
                  <a:gd name="T123" fmla="*/ 1449 h 1790"/>
                  <a:gd name="T124" fmla="*/ 926 w 1828"/>
                  <a:gd name="T125" fmla="*/ 1365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8" h="1790">
                    <a:moveTo>
                      <a:pt x="879" y="1753"/>
                    </a:moveTo>
                    <a:cubicBezTo>
                      <a:pt x="879" y="1732"/>
                      <a:pt x="895" y="1716"/>
                      <a:pt x="916" y="1716"/>
                    </a:cubicBezTo>
                    <a:cubicBezTo>
                      <a:pt x="936" y="1716"/>
                      <a:pt x="953" y="1732"/>
                      <a:pt x="953" y="1753"/>
                    </a:cubicBezTo>
                    <a:cubicBezTo>
                      <a:pt x="953" y="1773"/>
                      <a:pt x="936" y="1790"/>
                      <a:pt x="916" y="1790"/>
                    </a:cubicBezTo>
                    <a:cubicBezTo>
                      <a:pt x="895" y="1790"/>
                      <a:pt x="879" y="1773"/>
                      <a:pt x="879" y="1753"/>
                    </a:cubicBezTo>
                    <a:close/>
                    <a:moveTo>
                      <a:pt x="391" y="1079"/>
                    </a:moveTo>
                    <a:cubicBezTo>
                      <a:pt x="383" y="1079"/>
                      <a:pt x="375" y="1082"/>
                      <a:pt x="367" y="1086"/>
                    </a:cubicBezTo>
                    <a:cubicBezTo>
                      <a:pt x="357" y="1093"/>
                      <a:pt x="349" y="1103"/>
                      <a:pt x="345" y="1116"/>
                    </a:cubicBezTo>
                    <a:cubicBezTo>
                      <a:pt x="344" y="1120"/>
                      <a:pt x="344" y="1123"/>
                      <a:pt x="344" y="1127"/>
                    </a:cubicBezTo>
                    <a:cubicBezTo>
                      <a:pt x="344" y="1139"/>
                      <a:pt x="348" y="1149"/>
                      <a:pt x="354" y="1158"/>
                    </a:cubicBezTo>
                    <a:cubicBezTo>
                      <a:pt x="361" y="1166"/>
                      <a:pt x="371" y="1173"/>
                      <a:pt x="383" y="1174"/>
                    </a:cubicBezTo>
                    <a:cubicBezTo>
                      <a:pt x="386" y="1175"/>
                      <a:pt x="389" y="1175"/>
                      <a:pt x="391" y="1175"/>
                    </a:cubicBezTo>
                    <a:cubicBezTo>
                      <a:pt x="402" y="1175"/>
                      <a:pt x="412" y="1172"/>
                      <a:pt x="421" y="1165"/>
                    </a:cubicBezTo>
                    <a:cubicBezTo>
                      <a:pt x="431" y="1158"/>
                      <a:pt x="438" y="1146"/>
                      <a:pt x="439" y="1133"/>
                    </a:cubicBezTo>
                    <a:cubicBezTo>
                      <a:pt x="439" y="1132"/>
                      <a:pt x="439" y="1129"/>
                      <a:pt x="439" y="1127"/>
                    </a:cubicBezTo>
                    <a:cubicBezTo>
                      <a:pt x="439" y="1101"/>
                      <a:pt x="418" y="1079"/>
                      <a:pt x="391" y="1079"/>
                    </a:cubicBezTo>
                    <a:close/>
                    <a:moveTo>
                      <a:pt x="1463" y="1527"/>
                    </a:moveTo>
                    <a:cubicBezTo>
                      <a:pt x="1463" y="1547"/>
                      <a:pt x="1479" y="1564"/>
                      <a:pt x="1500" y="1564"/>
                    </a:cubicBezTo>
                    <a:cubicBezTo>
                      <a:pt x="1520" y="1564"/>
                      <a:pt x="1537" y="1547"/>
                      <a:pt x="1537" y="1527"/>
                    </a:cubicBezTo>
                    <a:cubicBezTo>
                      <a:pt x="1537" y="1506"/>
                      <a:pt x="1520" y="1490"/>
                      <a:pt x="1500" y="1490"/>
                    </a:cubicBezTo>
                    <a:cubicBezTo>
                      <a:pt x="1479" y="1490"/>
                      <a:pt x="1463" y="1506"/>
                      <a:pt x="1463" y="1527"/>
                    </a:cubicBezTo>
                    <a:close/>
                    <a:moveTo>
                      <a:pt x="295" y="1396"/>
                    </a:moveTo>
                    <a:cubicBezTo>
                      <a:pt x="293" y="1384"/>
                      <a:pt x="288" y="1374"/>
                      <a:pt x="281" y="1364"/>
                    </a:cubicBezTo>
                    <a:cubicBezTo>
                      <a:pt x="274" y="1355"/>
                      <a:pt x="263" y="1347"/>
                      <a:pt x="252" y="1343"/>
                    </a:cubicBezTo>
                    <a:cubicBezTo>
                      <a:pt x="245" y="1341"/>
                      <a:pt x="237" y="1340"/>
                      <a:pt x="230" y="1340"/>
                    </a:cubicBezTo>
                    <a:cubicBezTo>
                      <a:pt x="193" y="1340"/>
                      <a:pt x="165" y="1369"/>
                      <a:pt x="165" y="1404"/>
                    </a:cubicBezTo>
                    <a:cubicBezTo>
                      <a:pt x="165" y="1439"/>
                      <a:pt x="193" y="1468"/>
                      <a:pt x="230" y="1468"/>
                    </a:cubicBezTo>
                    <a:cubicBezTo>
                      <a:pt x="266" y="1468"/>
                      <a:pt x="295" y="1439"/>
                      <a:pt x="295" y="1404"/>
                    </a:cubicBezTo>
                    <a:cubicBezTo>
                      <a:pt x="295" y="1403"/>
                      <a:pt x="295" y="1402"/>
                      <a:pt x="295" y="1401"/>
                    </a:cubicBezTo>
                    <a:cubicBezTo>
                      <a:pt x="295" y="1400"/>
                      <a:pt x="295" y="1397"/>
                      <a:pt x="295" y="1396"/>
                    </a:cubicBezTo>
                    <a:close/>
                    <a:moveTo>
                      <a:pt x="1012" y="1346"/>
                    </a:moveTo>
                    <a:cubicBezTo>
                      <a:pt x="1018" y="1358"/>
                      <a:pt x="1022" y="1370"/>
                      <a:pt x="1024" y="1384"/>
                    </a:cubicBezTo>
                    <a:cubicBezTo>
                      <a:pt x="1026" y="1392"/>
                      <a:pt x="1027" y="1401"/>
                      <a:pt x="1027" y="1411"/>
                    </a:cubicBezTo>
                    <a:cubicBezTo>
                      <a:pt x="1027" y="1414"/>
                      <a:pt x="1027" y="1417"/>
                      <a:pt x="1027" y="1420"/>
                    </a:cubicBezTo>
                    <a:cubicBezTo>
                      <a:pt x="1027" y="1425"/>
                      <a:pt x="1026" y="1431"/>
                      <a:pt x="1025" y="1436"/>
                    </a:cubicBezTo>
                    <a:cubicBezTo>
                      <a:pt x="1023" y="1449"/>
                      <a:pt x="1019" y="1461"/>
                      <a:pt x="1014" y="1472"/>
                    </a:cubicBezTo>
                    <a:cubicBezTo>
                      <a:pt x="995" y="1516"/>
                      <a:pt x="955" y="1549"/>
                      <a:pt x="907" y="1558"/>
                    </a:cubicBezTo>
                    <a:cubicBezTo>
                      <a:pt x="897" y="1560"/>
                      <a:pt x="887" y="1560"/>
                      <a:pt x="877" y="1560"/>
                    </a:cubicBezTo>
                    <a:cubicBezTo>
                      <a:pt x="875" y="1560"/>
                      <a:pt x="873" y="1560"/>
                      <a:pt x="871" y="1560"/>
                    </a:cubicBezTo>
                    <a:cubicBezTo>
                      <a:pt x="802" y="1558"/>
                      <a:pt x="746" y="1509"/>
                      <a:pt x="731" y="1445"/>
                    </a:cubicBezTo>
                    <a:cubicBezTo>
                      <a:pt x="729" y="1434"/>
                      <a:pt x="727" y="1423"/>
                      <a:pt x="727" y="1411"/>
                    </a:cubicBezTo>
                    <a:cubicBezTo>
                      <a:pt x="727" y="1410"/>
                      <a:pt x="727" y="1409"/>
                      <a:pt x="727" y="1408"/>
                    </a:cubicBezTo>
                    <a:cubicBezTo>
                      <a:pt x="728" y="1396"/>
                      <a:pt x="729" y="1384"/>
                      <a:pt x="732" y="1372"/>
                    </a:cubicBezTo>
                    <a:cubicBezTo>
                      <a:pt x="733" y="1370"/>
                      <a:pt x="733" y="1369"/>
                      <a:pt x="734" y="1367"/>
                    </a:cubicBezTo>
                    <a:cubicBezTo>
                      <a:pt x="737" y="1356"/>
                      <a:pt x="742" y="1345"/>
                      <a:pt x="748" y="1335"/>
                    </a:cubicBezTo>
                    <a:cubicBezTo>
                      <a:pt x="749" y="1334"/>
                      <a:pt x="750" y="1332"/>
                      <a:pt x="751" y="1331"/>
                    </a:cubicBezTo>
                    <a:cubicBezTo>
                      <a:pt x="762" y="1313"/>
                      <a:pt x="779" y="1297"/>
                      <a:pt x="797" y="1285"/>
                    </a:cubicBezTo>
                    <a:cubicBezTo>
                      <a:pt x="807" y="1278"/>
                      <a:pt x="818" y="1273"/>
                      <a:pt x="830" y="1269"/>
                    </a:cubicBezTo>
                    <a:cubicBezTo>
                      <a:pt x="846" y="1265"/>
                      <a:pt x="861" y="1262"/>
                      <a:pt x="877" y="1262"/>
                    </a:cubicBezTo>
                    <a:cubicBezTo>
                      <a:pt x="924" y="1262"/>
                      <a:pt x="964" y="1282"/>
                      <a:pt x="992" y="1314"/>
                    </a:cubicBezTo>
                    <a:cubicBezTo>
                      <a:pt x="1000" y="1324"/>
                      <a:pt x="1007" y="1335"/>
                      <a:pt x="1012" y="1346"/>
                    </a:cubicBezTo>
                    <a:close/>
                    <a:moveTo>
                      <a:pt x="970" y="1391"/>
                    </a:moveTo>
                    <a:cubicBezTo>
                      <a:pt x="970" y="1391"/>
                      <a:pt x="970" y="1391"/>
                      <a:pt x="970" y="1391"/>
                    </a:cubicBezTo>
                    <a:cubicBezTo>
                      <a:pt x="949" y="1391"/>
                      <a:pt x="949" y="1391"/>
                      <a:pt x="949" y="1391"/>
                    </a:cubicBezTo>
                    <a:cubicBezTo>
                      <a:pt x="949" y="1385"/>
                      <a:pt x="949" y="1380"/>
                      <a:pt x="949" y="1375"/>
                    </a:cubicBezTo>
                    <a:cubicBezTo>
                      <a:pt x="949" y="1375"/>
                      <a:pt x="949" y="1375"/>
                      <a:pt x="970" y="1375"/>
                    </a:cubicBezTo>
                    <a:cubicBezTo>
                      <a:pt x="974" y="1375"/>
                      <a:pt x="977" y="1372"/>
                      <a:pt x="977" y="1369"/>
                    </a:cubicBezTo>
                    <a:cubicBezTo>
                      <a:pt x="977" y="1365"/>
                      <a:pt x="974" y="1362"/>
                      <a:pt x="970" y="1362"/>
                    </a:cubicBezTo>
                    <a:cubicBezTo>
                      <a:pt x="970" y="1362"/>
                      <a:pt x="970" y="1362"/>
                      <a:pt x="949" y="1362"/>
                    </a:cubicBezTo>
                    <a:cubicBezTo>
                      <a:pt x="949" y="1356"/>
                      <a:pt x="949" y="1349"/>
                      <a:pt x="949" y="1342"/>
                    </a:cubicBezTo>
                    <a:cubicBezTo>
                      <a:pt x="949" y="1341"/>
                      <a:pt x="947" y="1340"/>
                      <a:pt x="946" y="1340"/>
                    </a:cubicBezTo>
                    <a:cubicBezTo>
                      <a:pt x="946" y="1340"/>
                      <a:pt x="946" y="1340"/>
                      <a:pt x="927" y="1340"/>
                    </a:cubicBezTo>
                    <a:cubicBezTo>
                      <a:pt x="927" y="1340"/>
                      <a:pt x="927" y="1340"/>
                      <a:pt x="927" y="1318"/>
                    </a:cubicBezTo>
                    <a:cubicBezTo>
                      <a:pt x="927" y="1314"/>
                      <a:pt x="924" y="1311"/>
                      <a:pt x="920" y="1311"/>
                    </a:cubicBezTo>
                    <a:cubicBezTo>
                      <a:pt x="916" y="1311"/>
                      <a:pt x="913" y="1314"/>
                      <a:pt x="913" y="1318"/>
                    </a:cubicBezTo>
                    <a:cubicBezTo>
                      <a:pt x="913" y="1318"/>
                      <a:pt x="913" y="1318"/>
                      <a:pt x="913" y="1340"/>
                    </a:cubicBezTo>
                    <a:cubicBezTo>
                      <a:pt x="909" y="1340"/>
                      <a:pt x="904" y="1340"/>
                      <a:pt x="898" y="1340"/>
                    </a:cubicBezTo>
                    <a:cubicBezTo>
                      <a:pt x="898" y="1340"/>
                      <a:pt x="898" y="1340"/>
                      <a:pt x="898" y="1318"/>
                    </a:cubicBezTo>
                    <a:cubicBezTo>
                      <a:pt x="898" y="1314"/>
                      <a:pt x="896" y="1311"/>
                      <a:pt x="891" y="1311"/>
                    </a:cubicBezTo>
                    <a:cubicBezTo>
                      <a:pt x="888" y="1311"/>
                      <a:pt x="885" y="1314"/>
                      <a:pt x="885" y="1318"/>
                    </a:cubicBezTo>
                    <a:cubicBezTo>
                      <a:pt x="885" y="1318"/>
                      <a:pt x="885" y="1318"/>
                      <a:pt x="885" y="1340"/>
                    </a:cubicBezTo>
                    <a:cubicBezTo>
                      <a:pt x="880" y="1340"/>
                      <a:pt x="875" y="1340"/>
                      <a:pt x="870" y="1340"/>
                    </a:cubicBezTo>
                    <a:cubicBezTo>
                      <a:pt x="870" y="1340"/>
                      <a:pt x="870" y="1340"/>
                      <a:pt x="870" y="1318"/>
                    </a:cubicBezTo>
                    <a:cubicBezTo>
                      <a:pt x="870" y="1314"/>
                      <a:pt x="867" y="1311"/>
                      <a:pt x="863" y="1311"/>
                    </a:cubicBezTo>
                    <a:cubicBezTo>
                      <a:pt x="859" y="1311"/>
                      <a:pt x="857" y="1314"/>
                      <a:pt x="857" y="1318"/>
                    </a:cubicBezTo>
                    <a:cubicBezTo>
                      <a:pt x="857" y="1318"/>
                      <a:pt x="857" y="1318"/>
                      <a:pt x="857" y="1340"/>
                    </a:cubicBezTo>
                    <a:cubicBezTo>
                      <a:pt x="851" y="1340"/>
                      <a:pt x="846" y="1340"/>
                      <a:pt x="841" y="1340"/>
                    </a:cubicBezTo>
                    <a:cubicBezTo>
                      <a:pt x="841" y="1340"/>
                      <a:pt x="841" y="1340"/>
                      <a:pt x="841" y="1318"/>
                    </a:cubicBezTo>
                    <a:cubicBezTo>
                      <a:pt x="841" y="1314"/>
                      <a:pt x="838" y="1311"/>
                      <a:pt x="835" y="1311"/>
                    </a:cubicBezTo>
                    <a:cubicBezTo>
                      <a:pt x="830" y="1311"/>
                      <a:pt x="828" y="1314"/>
                      <a:pt x="828" y="1318"/>
                    </a:cubicBezTo>
                    <a:cubicBezTo>
                      <a:pt x="828" y="1318"/>
                      <a:pt x="828" y="1318"/>
                      <a:pt x="828" y="1340"/>
                    </a:cubicBezTo>
                    <a:cubicBezTo>
                      <a:pt x="822" y="1340"/>
                      <a:pt x="815" y="1340"/>
                      <a:pt x="808" y="1340"/>
                    </a:cubicBezTo>
                    <a:cubicBezTo>
                      <a:pt x="807" y="1340"/>
                      <a:pt x="806" y="1341"/>
                      <a:pt x="806" y="1342"/>
                    </a:cubicBezTo>
                    <a:cubicBezTo>
                      <a:pt x="806" y="1342"/>
                      <a:pt x="806" y="1342"/>
                      <a:pt x="806" y="1362"/>
                    </a:cubicBezTo>
                    <a:cubicBezTo>
                      <a:pt x="806" y="1362"/>
                      <a:pt x="806" y="1362"/>
                      <a:pt x="784" y="1362"/>
                    </a:cubicBezTo>
                    <a:cubicBezTo>
                      <a:pt x="780" y="1362"/>
                      <a:pt x="777" y="1365"/>
                      <a:pt x="777" y="1369"/>
                    </a:cubicBezTo>
                    <a:cubicBezTo>
                      <a:pt x="777" y="1372"/>
                      <a:pt x="780" y="1375"/>
                      <a:pt x="784" y="1375"/>
                    </a:cubicBezTo>
                    <a:cubicBezTo>
                      <a:pt x="784" y="1375"/>
                      <a:pt x="784" y="1375"/>
                      <a:pt x="806" y="1375"/>
                    </a:cubicBezTo>
                    <a:cubicBezTo>
                      <a:pt x="806" y="1380"/>
                      <a:pt x="806" y="1385"/>
                      <a:pt x="806" y="1391"/>
                    </a:cubicBezTo>
                    <a:cubicBezTo>
                      <a:pt x="806" y="1391"/>
                      <a:pt x="806" y="1391"/>
                      <a:pt x="784" y="1391"/>
                    </a:cubicBezTo>
                    <a:cubicBezTo>
                      <a:pt x="780" y="1391"/>
                      <a:pt x="777" y="1393"/>
                      <a:pt x="777" y="1397"/>
                    </a:cubicBezTo>
                    <a:cubicBezTo>
                      <a:pt x="777" y="1401"/>
                      <a:pt x="780" y="1404"/>
                      <a:pt x="784" y="1404"/>
                    </a:cubicBezTo>
                    <a:cubicBezTo>
                      <a:pt x="784" y="1404"/>
                      <a:pt x="784" y="1404"/>
                      <a:pt x="806" y="1404"/>
                    </a:cubicBezTo>
                    <a:cubicBezTo>
                      <a:pt x="806" y="1408"/>
                      <a:pt x="806" y="1413"/>
                      <a:pt x="806" y="1418"/>
                    </a:cubicBezTo>
                    <a:cubicBezTo>
                      <a:pt x="806" y="1418"/>
                      <a:pt x="806" y="1418"/>
                      <a:pt x="784" y="1418"/>
                    </a:cubicBezTo>
                    <a:cubicBezTo>
                      <a:pt x="780" y="1418"/>
                      <a:pt x="777" y="1422"/>
                      <a:pt x="777" y="1425"/>
                    </a:cubicBezTo>
                    <a:cubicBezTo>
                      <a:pt x="777" y="1429"/>
                      <a:pt x="780" y="1432"/>
                      <a:pt x="784" y="1432"/>
                    </a:cubicBezTo>
                    <a:cubicBezTo>
                      <a:pt x="784" y="1432"/>
                      <a:pt x="784" y="1432"/>
                      <a:pt x="806" y="1432"/>
                    </a:cubicBezTo>
                    <a:cubicBezTo>
                      <a:pt x="806" y="1437"/>
                      <a:pt x="806" y="1442"/>
                      <a:pt x="806" y="1447"/>
                    </a:cubicBezTo>
                    <a:cubicBezTo>
                      <a:pt x="806" y="1447"/>
                      <a:pt x="806" y="1447"/>
                      <a:pt x="784" y="1447"/>
                    </a:cubicBezTo>
                    <a:cubicBezTo>
                      <a:pt x="780" y="1447"/>
                      <a:pt x="777" y="1450"/>
                      <a:pt x="777" y="1454"/>
                    </a:cubicBezTo>
                    <a:cubicBezTo>
                      <a:pt x="777" y="1457"/>
                      <a:pt x="780" y="1461"/>
                      <a:pt x="784" y="1461"/>
                    </a:cubicBezTo>
                    <a:cubicBezTo>
                      <a:pt x="784" y="1461"/>
                      <a:pt x="784" y="1461"/>
                      <a:pt x="806" y="1461"/>
                    </a:cubicBezTo>
                    <a:cubicBezTo>
                      <a:pt x="806" y="1467"/>
                      <a:pt x="806" y="1473"/>
                      <a:pt x="806" y="1480"/>
                    </a:cubicBezTo>
                    <a:cubicBezTo>
                      <a:pt x="806" y="1482"/>
                      <a:pt x="807" y="1483"/>
                      <a:pt x="808" y="1483"/>
                    </a:cubicBezTo>
                    <a:cubicBezTo>
                      <a:pt x="808" y="1483"/>
                      <a:pt x="808" y="1483"/>
                      <a:pt x="828" y="1483"/>
                    </a:cubicBezTo>
                    <a:cubicBezTo>
                      <a:pt x="828" y="1483"/>
                      <a:pt x="828" y="1483"/>
                      <a:pt x="828" y="1504"/>
                    </a:cubicBezTo>
                    <a:cubicBezTo>
                      <a:pt x="828" y="1508"/>
                      <a:pt x="830" y="1511"/>
                      <a:pt x="835" y="1511"/>
                    </a:cubicBezTo>
                    <a:cubicBezTo>
                      <a:pt x="838" y="1511"/>
                      <a:pt x="841" y="1508"/>
                      <a:pt x="841" y="1504"/>
                    </a:cubicBezTo>
                    <a:cubicBezTo>
                      <a:pt x="841" y="1504"/>
                      <a:pt x="841" y="1504"/>
                      <a:pt x="841" y="1483"/>
                    </a:cubicBezTo>
                    <a:cubicBezTo>
                      <a:pt x="846" y="1483"/>
                      <a:pt x="851" y="1483"/>
                      <a:pt x="857" y="1483"/>
                    </a:cubicBezTo>
                    <a:cubicBezTo>
                      <a:pt x="857" y="1483"/>
                      <a:pt x="857" y="1483"/>
                      <a:pt x="857" y="1504"/>
                    </a:cubicBezTo>
                    <a:cubicBezTo>
                      <a:pt x="857" y="1508"/>
                      <a:pt x="859" y="1511"/>
                      <a:pt x="863" y="1511"/>
                    </a:cubicBezTo>
                    <a:cubicBezTo>
                      <a:pt x="867" y="1511"/>
                      <a:pt x="870" y="1508"/>
                      <a:pt x="870" y="1504"/>
                    </a:cubicBezTo>
                    <a:cubicBezTo>
                      <a:pt x="870" y="1504"/>
                      <a:pt x="870" y="1504"/>
                      <a:pt x="870" y="1483"/>
                    </a:cubicBezTo>
                    <a:cubicBezTo>
                      <a:pt x="874" y="1483"/>
                      <a:pt x="879" y="1483"/>
                      <a:pt x="885" y="1483"/>
                    </a:cubicBezTo>
                    <a:cubicBezTo>
                      <a:pt x="885" y="1483"/>
                      <a:pt x="885" y="1483"/>
                      <a:pt x="885" y="1504"/>
                    </a:cubicBezTo>
                    <a:cubicBezTo>
                      <a:pt x="885" y="1508"/>
                      <a:pt x="888" y="1511"/>
                      <a:pt x="891" y="1511"/>
                    </a:cubicBezTo>
                    <a:cubicBezTo>
                      <a:pt x="896" y="1511"/>
                      <a:pt x="898" y="1508"/>
                      <a:pt x="898" y="1504"/>
                    </a:cubicBezTo>
                    <a:cubicBezTo>
                      <a:pt x="898" y="1504"/>
                      <a:pt x="898" y="1504"/>
                      <a:pt x="898" y="1483"/>
                    </a:cubicBezTo>
                    <a:cubicBezTo>
                      <a:pt x="903" y="1483"/>
                      <a:pt x="908" y="1483"/>
                      <a:pt x="913" y="1483"/>
                    </a:cubicBezTo>
                    <a:cubicBezTo>
                      <a:pt x="913" y="1483"/>
                      <a:pt x="913" y="1483"/>
                      <a:pt x="913" y="1504"/>
                    </a:cubicBezTo>
                    <a:cubicBezTo>
                      <a:pt x="913" y="1508"/>
                      <a:pt x="916" y="1511"/>
                      <a:pt x="920" y="1511"/>
                    </a:cubicBezTo>
                    <a:cubicBezTo>
                      <a:pt x="924" y="1511"/>
                      <a:pt x="927" y="1508"/>
                      <a:pt x="927" y="1504"/>
                    </a:cubicBezTo>
                    <a:cubicBezTo>
                      <a:pt x="927" y="1504"/>
                      <a:pt x="927" y="1504"/>
                      <a:pt x="927" y="1483"/>
                    </a:cubicBezTo>
                    <a:cubicBezTo>
                      <a:pt x="933" y="1483"/>
                      <a:pt x="940" y="1483"/>
                      <a:pt x="946" y="1483"/>
                    </a:cubicBezTo>
                    <a:cubicBezTo>
                      <a:pt x="947" y="1483"/>
                      <a:pt x="949" y="1482"/>
                      <a:pt x="949" y="1480"/>
                    </a:cubicBezTo>
                    <a:cubicBezTo>
                      <a:pt x="949" y="1480"/>
                      <a:pt x="949" y="1480"/>
                      <a:pt x="949" y="1461"/>
                    </a:cubicBezTo>
                    <a:cubicBezTo>
                      <a:pt x="949" y="1461"/>
                      <a:pt x="949" y="1461"/>
                      <a:pt x="970" y="1461"/>
                    </a:cubicBezTo>
                    <a:cubicBezTo>
                      <a:pt x="974" y="1461"/>
                      <a:pt x="977" y="1457"/>
                      <a:pt x="977" y="1454"/>
                    </a:cubicBezTo>
                    <a:cubicBezTo>
                      <a:pt x="977" y="1450"/>
                      <a:pt x="974" y="1447"/>
                      <a:pt x="970" y="1447"/>
                    </a:cubicBezTo>
                    <a:cubicBezTo>
                      <a:pt x="970" y="1447"/>
                      <a:pt x="970" y="1447"/>
                      <a:pt x="949" y="1447"/>
                    </a:cubicBezTo>
                    <a:cubicBezTo>
                      <a:pt x="949" y="1443"/>
                      <a:pt x="949" y="1438"/>
                      <a:pt x="949" y="1432"/>
                    </a:cubicBezTo>
                    <a:cubicBezTo>
                      <a:pt x="949" y="1432"/>
                      <a:pt x="949" y="1432"/>
                      <a:pt x="970" y="1432"/>
                    </a:cubicBezTo>
                    <a:cubicBezTo>
                      <a:pt x="974" y="1432"/>
                      <a:pt x="977" y="1429"/>
                      <a:pt x="977" y="1425"/>
                    </a:cubicBezTo>
                    <a:cubicBezTo>
                      <a:pt x="977" y="1422"/>
                      <a:pt x="974" y="1418"/>
                      <a:pt x="970" y="1418"/>
                    </a:cubicBezTo>
                    <a:cubicBezTo>
                      <a:pt x="970" y="1418"/>
                      <a:pt x="970" y="1418"/>
                      <a:pt x="949" y="1418"/>
                    </a:cubicBezTo>
                    <a:cubicBezTo>
                      <a:pt x="949" y="1414"/>
                      <a:pt x="949" y="1409"/>
                      <a:pt x="949" y="1404"/>
                    </a:cubicBezTo>
                    <a:cubicBezTo>
                      <a:pt x="949" y="1404"/>
                      <a:pt x="949" y="1404"/>
                      <a:pt x="970" y="1404"/>
                    </a:cubicBezTo>
                    <a:cubicBezTo>
                      <a:pt x="974" y="1404"/>
                      <a:pt x="977" y="1401"/>
                      <a:pt x="977" y="1397"/>
                    </a:cubicBezTo>
                    <a:cubicBezTo>
                      <a:pt x="977" y="1393"/>
                      <a:pt x="974" y="1391"/>
                      <a:pt x="970" y="1391"/>
                    </a:cubicBezTo>
                    <a:close/>
                    <a:moveTo>
                      <a:pt x="1676" y="1260"/>
                    </a:moveTo>
                    <a:cubicBezTo>
                      <a:pt x="1676" y="1281"/>
                      <a:pt x="1693" y="1298"/>
                      <a:pt x="1714" y="1298"/>
                    </a:cubicBezTo>
                    <a:cubicBezTo>
                      <a:pt x="1735" y="1298"/>
                      <a:pt x="1752" y="1281"/>
                      <a:pt x="1752" y="1260"/>
                    </a:cubicBezTo>
                    <a:cubicBezTo>
                      <a:pt x="1752" y="1239"/>
                      <a:pt x="1735" y="1222"/>
                      <a:pt x="1714" y="1222"/>
                    </a:cubicBezTo>
                    <a:cubicBezTo>
                      <a:pt x="1693" y="1222"/>
                      <a:pt x="1676" y="1239"/>
                      <a:pt x="1676" y="1260"/>
                    </a:cubicBezTo>
                    <a:close/>
                    <a:moveTo>
                      <a:pt x="1463" y="929"/>
                    </a:moveTo>
                    <a:cubicBezTo>
                      <a:pt x="1463" y="929"/>
                      <a:pt x="1463" y="929"/>
                      <a:pt x="1399" y="929"/>
                    </a:cubicBezTo>
                    <a:cubicBezTo>
                      <a:pt x="1399" y="929"/>
                      <a:pt x="1398" y="930"/>
                      <a:pt x="1398" y="931"/>
                    </a:cubicBezTo>
                    <a:cubicBezTo>
                      <a:pt x="1398" y="931"/>
                      <a:pt x="1398" y="931"/>
                      <a:pt x="1398" y="1039"/>
                    </a:cubicBezTo>
                    <a:cubicBezTo>
                      <a:pt x="1398" y="1040"/>
                      <a:pt x="1399" y="1041"/>
                      <a:pt x="1399" y="1041"/>
                    </a:cubicBezTo>
                    <a:cubicBezTo>
                      <a:pt x="1399" y="1041"/>
                      <a:pt x="1399" y="1041"/>
                      <a:pt x="1463" y="1041"/>
                    </a:cubicBezTo>
                    <a:cubicBezTo>
                      <a:pt x="1464" y="1041"/>
                      <a:pt x="1465" y="1040"/>
                      <a:pt x="1465" y="1039"/>
                    </a:cubicBezTo>
                    <a:cubicBezTo>
                      <a:pt x="1465" y="931"/>
                      <a:pt x="1465" y="931"/>
                      <a:pt x="1465" y="931"/>
                    </a:cubicBezTo>
                    <a:cubicBezTo>
                      <a:pt x="1465" y="930"/>
                      <a:pt x="1464" y="929"/>
                      <a:pt x="1463" y="929"/>
                    </a:cubicBezTo>
                    <a:close/>
                    <a:moveTo>
                      <a:pt x="1419" y="1066"/>
                    </a:moveTo>
                    <a:cubicBezTo>
                      <a:pt x="1419" y="1072"/>
                      <a:pt x="1425" y="1078"/>
                      <a:pt x="1431" y="1078"/>
                    </a:cubicBezTo>
                    <a:cubicBezTo>
                      <a:pt x="1438" y="1078"/>
                      <a:pt x="1443" y="1072"/>
                      <a:pt x="1443" y="1066"/>
                    </a:cubicBezTo>
                    <a:cubicBezTo>
                      <a:pt x="1443" y="1059"/>
                      <a:pt x="1438" y="1054"/>
                      <a:pt x="1431" y="1054"/>
                    </a:cubicBezTo>
                    <a:cubicBezTo>
                      <a:pt x="1425" y="1054"/>
                      <a:pt x="1419" y="1059"/>
                      <a:pt x="1419" y="1066"/>
                    </a:cubicBezTo>
                    <a:close/>
                    <a:moveTo>
                      <a:pt x="1533" y="937"/>
                    </a:moveTo>
                    <a:cubicBezTo>
                      <a:pt x="1539" y="947"/>
                      <a:pt x="1545" y="959"/>
                      <a:pt x="1548" y="971"/>
                    </a:cubicBezTo>
                    <a:cubicBezTo>
                      <a:pt x="1551" y="980"/>
                      <a:pt x="1551" y="990"/>
                      <a:pt x="1551" y="1000"/>
                    </a:cubicBezTo>
                    <a:cubicBezTo>
                      <a:pt x="1551" y="1026"/>
                      <a:pt x="1543" y="1049"/>
                      <a:pt x="1529" y="1069"/>
                    </a:cubicBezTo>
                    <a:cubicBezTo>
                      <a:pt x="1522" y="1079"/>
                      <a:pt x="1514" y="1087"/>
                      <a:pt x="1504" y="1095"/>
                    </a:cubicBezTo>
                    <a:cubicBezTo>
                      <a:pt x="1484" y="1110"/>
                      <a:pt x="1458" y="1119"/>
                      <a:pt x="1431" y="1119"/>
                    </a:cubicBezTo>
                    <a:cubicBezTo>
                      <a:pt x="1396" y="1119"/>
                      <a:pt x="1366" y="1106"/>
                      <a:pt x="1343" y="1083"/>
                    </a:cubicBezTo>
                    <a:cubicBezTo>
                      <a:pt x="1335" y="1075"/>
                      <a:pt x="1327" y="1064"/>
                      <a:pt x="1322" y="1053"/>
                    </a:cubicBezTo>
                    <a:cubicBezTo>
                      <a:pt x="1313" y="1037"/>
                      <a:pt x="1309" y="1019"/>
                      <a:pt x="1309" y="1000"/>
                    </a:cubicBezTo>
                    <a:cubicBezTo>
                      <a:pt x="1309" y="994"/>
                      <a:pt x="1309" y="988"/>
                      <a:pt x="1310" y="983"/>
                    </a:cubicBezTo>
                    <a:cubicBezTo>
                      <a:pt x="1312" y="970"/>
                      <a:pt x="1316" y="957"/>
                      <a:pt x="1322" y="946"/>
                    </a:cubicBezTo>
                    <a:cubicBezTo>
                      <a:pt x="1332" y="926"/>
                      <a:pt x="1349" y="908"/>
                      <a:pt x="1369" y="897"/>
                    </a:cubicBezTo>
                    <a:cubicBezTo>
                      <a:pt x="1379" y="891"/>
                      <a:pt x="1391" y="886"/>
                      <a:pt x="1403" y="884"/>
                    </a:cubicBezTo>
                    <a:cubicBezTo>
                      <a:pt x="1412" y="882"/>
                      <a:pt x="1421" y="881"/>
                      <a:pt x="1431" y="881"/>
                    </a:cubicBezTo>
                    <a:cubicBezTo>
                      <a:pt x="1435" y="881"/>
                      <a:pt x="1439" y="881"/>
                      <a:pt x="1443" y="881"/>
                    </a:cubicBezTo>
                    <a:cubicBezTo>
                      <a:pt x="1456" y="883"/>
                      <a:pt x="1468" y="886"/>
                      <a:pt x="1479" y="891"/>
                    </a:cubicBezTo>
                    <a:cubicBezTo>
                      <a:pt x="1502" y="901"/>
                      <a:pt x="1521" y="917"/>
                      <a:pt x="1533" y="937"/>
                    </a:cubicBezTo>
                    <a:close/>
                    <a:moveTo>
                      <a:pt x="1479" y="1081"/>
                    </a:moveTo>
                    <a:cubicBezTo>
                      <a:pt x="1479" y="918"/>
                      <a:pt x="1479" y="918"/>
                      <a:pt x="1479" y="918"/>
                    </a:cubicBezTo>
                    <a:cubicBezTo>
                      <a:pt x="1479" y="917"/>
                      <a:pt x="1476" y="914"/>
                      <a:pt x="1474" y="914"/>
                    </a:cubicBezTo>
                    <a:cubicBezTo>
                      <a:pt x="1387" y="914"/>
                      <a:pt x="1387" y="914"/>
                      <a:pt x="1387" y="914"/>
                    </a:cubicBezTo>
                    <a:cubicBezTo>
                      <a:pt x="1384" y="914"/>
                      <a:pt x="1382" y="917"/>
                      <a:pt x="1382" y="918"/>
                    </a:cubicBezTo>
                    <a:cubicBezTo>
                      <a:pt x="1382" y="1081"/>
                      <a:pt x="1382" y="1081"/>
                      <a:pt x="1382" y="1081"/>
                    </a:cubicBezTo>
                    <a:cubicBezTo>
                      <a:pt x="1382" y="1084"/>
                      <a:pt x="1384" y="1085"/>
                      <a:pt x="1387" y="1085"/>
                    </a:cubicBezTo>
                    <a:cubicBezTo>
                      <a:pt x="1474" y="1085"/>
                      <a:pt x="1474" y="1085"/>
                      <a:pt x="1474" y="1085"/>
                    </a:cubicBezTo>
                    <a:cubicBezTo>
                      <a:pt x="1476" y="1085"/>
                      <a:pt x="1479" y="1084"/>
                      <a:pt x="1479" y="1081"/>
                    </a:cubicBezTo>
                    <a:close/>
                    <a:moveTo>
                      <a:pt x="0" y="894"/>
                    </a:moveTo>
                    <a:cubicBezTo>
                      <a:pt x="0" y="910"/>
                      <a:pt x="13" y="922"/>
                      <a:pt x="29" y="922"/>
                    </a:cubicBezTo>
                    <a:cubicBezTo>
                      <a:pt x="45" y="922"/>
                      <a:pt x="58" y="910"/>
                      <a:pt x="58" y="894"/>
                    </a:cubicBezTo>
                    <a:cubicBezTo>
                      <a:pt x="58" y="879"/>
                      <a:pt x="45" y="866"/>
                      <a:pt x="29" y="866"/>
                    </a:cubicBezTo>
                    <a:cubicBezTo>
                      <a:pt x="13" y="866"/>
                      <a:pt x="0" y="879"/>
                      <a:pt x="0" y="894"/>
                    </a:cubicBezTo>
                    <a:close/>
                    <a:moveTo>
                      <a:pt x="1756" y="860"/>
                    </a:moveTo>
                    <a:cubicBezTo>
                      <a:pt x="1756" y="880"/>
                      <a:pt x="1772" y="897"/>
                      <a:pt x="1792" y="897"/>
                    </a:cubicBezTo>
                    <a:cubicBezTo>
                      <a:pt x="1812" y="897"/>
                      <a:pt x="1828" y="880"/>
                      <a:pt x="1828" y="860"/>
                    </a:cubicBezTo>
                    <a:cubicBezTo>
                      <a:pt x="1828" y="839"/>
                      <a:pt x="1812" y="823"/>
                      <a:pt x="1792" y="823"/>
                    </a:cubicBezTo>
                    <a:cubicBezTo>
                      <a:pt x="1772" y="823"/>
                      <a:pt x="1756" y="839"/>
                      <a:pt x="1756" y="860"/>
                    </a:cubicBezTo>
                    <a:close/>
                    <a:moveTo>
                      <a:pt x="559" y="779"/>
                    </a:moveTo>
                    <a:cubicBezTo>
                      <a:pt x="559" y="780"/>
                      <a:pt x="559" y="784"/>
                      <a:pt x="559" y="796"/>
                    </a:cubicBezTo>
                    <a:cubicBezTo>
                      <a:pt x="559" y="796"/>
                      <a:pt x="559" y="796"/>
                      <a:pt x="561" y="796"/>
                    </a:cubicBezTo>
                    <a:cubicBezTo>
                      <a:pt x="564" y="796"/>
                      <a:pt x="570" y="796"/>
                      <a:pt x="582" y="796"/>
                    </a:cubicBezTo>
                    <a:cubicBezTo>
                      <a:pt x="582" y="779"/>
                      <a:pt x="582" y="779"/>
                      <a:pt x="582" y="779"/>
                    </a:cubicBezTo>
                    <a:cubicBezTo>
                      <a:pt x="582" y="779"/>
                      <a:pt x="582" y="779"/>
                      <a:pt x="559" y="779"/>
                    </a:cubicBezTo>
                    <a:cubicBezTo>
                      <a:pt x="559" y="779"/>
                      <a:pt x="559" y="779"/>
                      <a:pt x="559" y="779"/>
                    </a:cubicBezTo>
                    <a:close/>
                    <a:moveTo>
                      <a:pt x="588" y="814"/>
                    </a:moveTo>
                    <a:cubicBezTo>
                      <a:pt x="588" y="814"/>
                      <a:pt x="588" y="814"/>
                      <a:pt x="605" y="814"/>
                    </a:cubicBezTo>
                    <a:cubicBezTo>
                      <a:pt x="605" y="814"/>
                      <a:pt x="605" y="814"/>
                      <a:pt x="606" y="814"/>
                    </a:cubicBezTo>
                    <a:cubicBezTo>
                      <a:pt x="606" y="814"/>
                      <a:pt x="606" y="814"/>
                      <a:pt x="607" y="813"/>
                    </a:cubicBezTo>
                    <a:cubicBezTo>
                      <a:pt x="607" y="813"/>
                      <a:pt x="607" y="813"/>
                      <a:pt x="608" y="813"/>
                    </a:cubicBezTo>
                    <a:cubicBezTo>
                      <a:pt x="608" y="813"/>
                      <a:pt x="608" y="813"/>
                      <a:pt x="608" y="813"/>
                    </a:cubicBezTo>
                    <a:cubicBezTo>
                      <a:pt x="608" y="813"/>
                      <a:pt x="608" y="813"/>
                      <a:pt x="608" y="812"/>
                    </a:cubicBezTo>
                    <a:cubicBezTo>
                      <a:pt x="608" y="812"/>
                      <a:pt x="608" y="812"/>
                      <a:pt x="609" y="812"/>
                    </a:cubicBezTo>
                    <a:cubicBezTo>
                      <a:pt x="609" y="812"/>
                      <a:pt x="609" y="812"/>
                      <a:pt x="610" y="811"/>
                    </a:cubicBezTo>
                    <a:cubicBezTo>
                      <a:pt x="610" y="811"/>
                      <a:pt x="610" y="811"/>
                      <a:pt x="611" y="811"/>
                    </a:cubicBezTo>
                    <a:cubicBezTo>
                      <a:pt x="611" y="811"/>
                      <a:pt x="611" y="811"/>
                      <a:pt x="611" y="810"/>
                    </a:cubicBezTo>
                    <a:cubicBezTo>
                      <a:pt x="611" y="810"/>
                      <a:pt x="611" y="810"/>
                      <a:pt x="612" y="810"/>
                    </a:cubicBezTo>
                    <a:cubicBezTo>
                      <a:pt x="612" y="810"/>
                      <a:pt x="612" y="810"/>
                      <a:pt x="612" y="809"/>
                    </a:cubicBezTo>
                    <a:cubicBezTo>
                      <a:pt x="612" y="809"/>
                      <a:pt x="612" y="809"/>
                      <a:pt x="613" y="809"/>
                    </a:cubicBezTo>
                    <a:cubicBezTo>
                      <a:pt x="613" y="809"/>
                      <a:pt x="613" y="809"/>
                      <a:pt x="613" y="808"/>
                    </a:cubicBezTo>
                    <a:cubicBezTo>
                      <a:pt x="613" y="808"/>
                      <a:pt x="613" y="808"/>
                      <a:pt x="613" y="807"/>
                    </a:cubicBezTo>
                    <a:cubicBezTo>
                      <a:pt x="613" y="807"/>
                      <a:pt x="613" y="807"/>
                      <a:pt x="613" y="807"/>
                    </a:cubicBezTo>
                    <a:cubicBezTo>
                      <a:pt x="613" y="807"/>
                      <a:pt x="613" y="807"/>
                      <a:pt x="613" y="806"/>
                    </a:cubicBezTo>
                    <a:cubicBezTo>
                      <a:pt x="613" y="801"/>
                      <a:pt x="613" y="801"/>
                      <a:pt x="613" y="801"/>
                    </a:cubicBezTo>
                    <a:cubicBezTo>
                      <a:pt x="613" y="801"/>
                      <a:pt x="613" y="801"/>
                      <a:pt x="588" y="801"/>
                    </a:cubicBezTo>
                    <a:cubicBezTo>
                      <a:pt x="588" y="801"/>
                      <a:pt x="588" y="801"/>
                      <a:pt x="588" y="814"/>
                    </a:cubicBezTo>
                    <a:close/>
                    <a:moveTo>
                      <a:pt x="565" y="759"/>
                    </a:moveTo>
                    <a:cubicBezTo>
                      <a:pt x="565" y="759"/>
                      <a:pt x="565" y="759"/>
                      <a:pt x="565" y="759"/>
                    </a:cubicBezTo>
                    <a:cubicBezTo>
                      <a:pt x="565" y="759"/>
                      <a:pt x="565" y="759"/>
                      <a:pt x="564" y="759"/>
                    </a:cubicBezTo>
                    <a:cubicBezTo>
                      <a:pt x="564" y="759"/>
                      <a:pt x="564" y="759"/>
                      <a:pt x="564" y="759"/>
                    </a:cubicBezTo>
                    <a:cubicBezTo>
                      <a:pt x="564" y="759"/>
                      <a:pt x="564" y="759"/>
                      <a:pt x="563" y="760"/>
                    </a:cubicBezTo>
                    <a:cubicBezTo>
                      <a:pt x="563" y="760"/>
                      <a:pt x="563" y="760"/>
                      <a:pt x="562" y="760"/>
                    </a:cubicBezTo>
                    <a:cubicBezTo>
                      <a:pt x="562" y="760"/>
                      <a:pt x="562" y="760"/>
                      <a:pt x="561" y="761"/>
                    </a:cubicBezTo>
                    <a:cubicBezTo>
                      <a:pt x="561" y="761"/>
                      <a:pt x="561" y="761"/>
                      <a:pt x="560" y="762"/>
                    </a:cubicBezTo>
                    <a:cubicBezTo>
                      <a:pt x="560" y="762"/>
                      <a:pt x="560" y="762"/>
                      <a:pt x="560" y="762"/>
                    </a:cubicBezTo>
                    <a:cubicBezTo>
                      <a:pt x="560" y="762"/>
                      <a:pt x="560" y="762"/>
                      <a:pt x="560" y="763"/>
                    </a:cubicBezTo>
                    <a:cubicBezTo>
                      <a:pt x="560" y="763"/>
                      <a:pt x="560" y="763"/>
                      <a:pt x="560" y="763"/>
                    </a:cubicBezTo>
                    <a:cubicBezTo>
                      <a:pt x="560" y="763"/>
                      <a:pt x="560" y="763"/>
                      <a:pt x="559" y="764"/>
                    </a:cubicBezTo>
                    <a:cubicBezTo>
                      <a:pt x="559" y="764"/>
                      <a:pt x="559" y="764"/>
                      <a:pt x="559" y="764"/>
                    </a:cubicBezTo>
                    <a:cubicBezTo>
                      <a:pt x="559" y="764"/>
                      <a:pt x="559" y="764"/>
                      <a:pt x="559" y="765"/>
                    </a:cubicBezTo>
                    <a:cubicBezTo>
                      <a:pt x="559" y="765"/>
                      <a:pt x="559" y="765"/>
                      <a:pt x="559" y="766"/>
                    </a:cubicBezTo>
                    <a:cubicBezTo>
                      <a:pt x="559" y="766"/>
                      <a:pt x="559" y="766"/>
                      <a:pt x="559" y="767"/>
                    </a:cubicBezTo>
                    <a:cubicBezTo>
                      <a:pt x="559" y="767"/>
                      <a:pt x="559" y="767"/>
                      <a:pt x="559" y="772"/>
                    </a:cubicBezTo>
                    <a:cubicBezTo>
                      <a:pt x="559" y="772"/>
                      <a:pt x="559" y="772"/>
                      <a:pt x="582" y="772"/>
                    </a:cubicBezTo>
                    <a:cubicBezTo>
                      <a:pt x="582" y="759"/>
                      <a:pt x="582" y="759"/>
                      <a:pt x="582" y="759"/>
                    </a:cubicBezTo>
                    <a:cubicBezTo>
                      <a:pt x="582" y="759"/>
                      <a:pt x="582" y="759"/>
                      <a:pt x="566" y="759"/>
                    </a:cubicBezTo>
                    <a:cubicBezTo>
                      <a:pt x="566" y="759"/>
                      <a:pt x="566" y="759"/>
                      <a:pt x="565" y="759"/>
                    </a:cubicBezTo>
                    <a:close/>
                    <a:moveTo>
                      <a:pt x="588" y="796"/>
                    </a:moveTo>
                    <a:cubicBezTo>
                      <a:pt x="588" y="796"/>
                      <a:pt x="588" y="796"/>
                      <a:pt x="613" y="796"/>
                    </a:cubicBezTo>
                    <a:cubicBezTo>
                      <a:pt x="613" y="779"/>
                      <a:pt x="613" y="779"/>
                      <a:pt x="613" y="779"/>
                    </a:cubicBezTo>
                    <a:cubicBezTo>
                      <a:pt x="613" y="779"/>
                      <a:pt x="613" y="779"/>
                      <a:pt x="588" y="779"/>
                    </a:cubicBezTo>
                    <a:cubicBezTo>
                      <a:pt x="588" y="779"/>
                      <a:pt x="588" y="779"/>
                      <a:pt x="588" y="796"/>
                    </a:cubicBezTo>
                    <a:close/>
                    <a:moveTo>
                      <a:pt x="613" y="764"/>
                    </a:moveTo>
                    <a:cubicBezTo>
                      <a:pt x="613" y="764"/>
                      <a:pt x="613" y="764"/>
                      <a:pt x="613" y="764"/>
                    </a:cubicBezTo>
                    <a:cubicBezTo>
                      <a:pt x="613" y="764"/>
                      <a:pt x="613" y="764"/>
                      <a:pt x="612" y="763"/>
                    </a:cubicBezTo>
                    <a:cubicBezTo>
                      <a:pt x="612" y="763"/>
                      <a:pt x="612" y="763"/>
                      <a:pt x="612" y="763"/>
                    </a:cubicBezTo>
                    <a:cubicBezTo>
                      <a:pt x="612" y="763"/>
                      <a:pt x="612" y="763"/>
                      <a:pt x="611" y="762"/>
                    </a:cubicBezTo>
                    <a:cubicBezTo>
                      <a:pt x="611" y="762"/>
                      <a:pt x="611" y="762"/>
                      <a:pt x="611" y="762"/>
                    </a:cubicBezTo>
                    <a:cubicBezTo>
                      <a:pt x="611" y="762"/>
                      <a:pt x="611" y="762"/>
                      <a:pt x="610" y="761"/>
                    </a:cubicBezTo>
                    <a:cubicBezTo>
                      <a:pt x="610" y="761"/>
                      <a:pt x="610" y="761"/>
                      <a:pt x="609" y="760"/>
                    </a:cubicBezTo>
                    <a:cubicBezTo>
                      <a:pt x="609" y="760"/>
                      <a:pt x="609" y="760"/>
                      <a:pt x="608" y="760"/>
                    </a:cubicBezTo>
                    <a:cubicBezTo>
                      <a:pt x="608" y="760"/>
                      <a:pt x="608" y="760"/>
                      <a:pt x="608" y="759"/>
                    </a:cubicBezTo>
                    <a:cubicBezTo>
                      <a:pt x="608" y="759"/>
                      <a:pt x="608" y="759"/>
                      <a:pt x="608" y="759"/>
                    </a:cubicBezTo>
                    <a:cubicBezTo>
                      <a:pt x="608" y="759"/>
                      <a:pt x="608" y="759"/>
                      <a:pt x="607" y="759"/>
                    </a:cubicBezTo>
                    <a:cubicBezTo>
                      <a:pt x="607" y="759"/>
                      <a:pt x="607" y="759"/>
                      <a:pt x="606" y="759"/>
                    </a:cubicBezTo>
                    <a:cubicBezTo>
                      <a:pt x="606" y="759"/>
                      <a:pt x="606" y="759"/>
                      <a:pt x="605" y="759"/>
                    </a:cubicBezTo>
                    <a:cubicBezTo>
                      <a:pt x="605" y="759"/>
                      <a:pt x="605" y="759"/>
                      <a:pt x="588" y="759"/>
                    </a:cubicBezTo>
                    <a:cubicBezTo>
                      <a:pt x="588" y="759"/>
                      <a:pt x="588" y="759"/>
                      <a:pt x="588" y="772"/>
                    </a:cubicBezTo>
                    <a:cubicBezTo>
                      <a:pt x="588" y="772"/>
                      <a:pt x="588" y="772"/>
                      <a:pt x="613" y="772"/>
                    </a:cubicBezTo>
                    <a:cubicBezTo>
                      <a:pt x="613" y="767"/>
                      <a:pt x="613" y="767"/>
                      <a:pt x="613" y="767"/>
                    </a:cubicBezTo>
                    <a:cubicBezTo>
                      <a:pt x="613" y="767"/>
                      <a:pt x="613" y="767"/>
                      <a:pt x="613" y="766"/>
                    </a:cubicBezTo>
                    <a:cubicBezTo>
                      <a:pt x="613" y="766"/>
                      <a:pt x="613" y="766"/>
                      <a:pt x="613" y="765"/>
                    </a:cubicBezTo>
                    <a:cubicBezTo>
                      <a:pt x="613" y="765"/>
                      <a:pt x="613" y="765"/>
                      <a:pt x="613" y="764"/>
                    </a:cubicBezTo>
                    <a:close/>
                    <a:moveTo>
                      <a:pt x="755" y="792"/>
                    </a:moveTo>
                    <a:cubicBezTo>
                      <a:pt x="753" y="804"/>
                      <a:pt x="749" y="816"/>
                      <a:pt x="744" y="827"/>
                    </a:cubicBezTo>
                    <a:cubicBezTo>
                      <a:pt x="732" y="851"/>
                      <a:pt x="713" y="872"/>
                      <a:pt x="689" y="884"/>
                    </a:cubicBezTo>
                    <a:cubicBezTo>
                      <a:pt x="678" y="890"/>
                      <a:pt x="667" y="894"/>
                      <a:pt x="655" y="896"/>
                    </a:cubicBezTo>
                    <a:cubicBezTo>
                      <a:pt x="647" y="898"/>
                      <a:pt x="639" y="899"/>
                      <a:pt x="631" y="899"/>
                    </a:cubicBezTo>
                    <a:cubicBezTo>
                      <a:pt x="578" y="899"/>
                      <a:pt x="532" y="865"/>
                      <a:pt x="514" y="817"/>
                    </a:cubicBezTo>
                    <a:cubicBezTo>
                      <a:pt x="510" y="806"/>
                      <a:pt x="508" y="795"/>
                      <a:pt x="507" y="782"/>
                    </a:cubicBezTo>
                    <a:cubicBezTo>
                      <a:pt x="506" y="780"/>
                      <a:pt x="506" y="776"/>
                      <a:pt x="506" y="774"/>
                    </a:cubicBezTo>
                    <a:cubicBezTo>
                      <a:pt x="506" y="753"/>
                      <a:pt x="511" y="733"/>
                      <a:pt x="521" y="716"/>
                    </a:cubicBezTo>
                    <a:cubicBezTo>
                      <a:pt x="527" y="706"/>
                      <a:pt x="533" y="695"/>
                      <a:pt x="542" y="687"/>
                    </a:cubicBezTo>
                    <a:cubicBezTo>
                      <a:pt x="560" y="668"/>
                      <a:pt x="585" y="654"/>
                      <a:pt x="612" y="651"/>
                    </a:cubicBezTo>
                    <a:cubicBezTo>
                      <a:pt x="618" y="649"/>
                      <a:pt x="625" y="649"/>
                      <a:pt x="631" y="649"/>
                    </a:cubicBezTo>
                    <a:cubicBezTo>
                      <a:pt x="637" y="649"/>
                      <a:pt x="643" y="649"/>
                      <a:pt x="649" y="650"/>
                    </a:cubicBezTo>
                    <a:cubicBezTo>
                      <a:pt x="671" y="653"/>
                      <a:pt x="693" y="663"/>
                      <a:pt x="710" y="677"/>
                    </a:cubicBezTo>
                    <a:cubicBezTo>
                      <a:pt x="720" y="685"/>
                      <a:pt x="728" y="694"/>
                      <a:pt x="735" y="704"/>
                    </a:cubicBezTo>
                    <a:cubicBezTo>
                      <a:pt x="748" y="724"/>
                      <a:pt x="756" y="748"/>
                      <a:pt x="756" y="774"/>
                    </a:cubicBezTo>
                    <a:cubicBezTo>
                      <a:pt x="756" y="780"/>
                      <a:pt x="756" y="787"/>
                      <a:pt x="755" y="792"/>
                    </a:cubicBezTo>
                    <a:close/>
                    <a:moveTo>
                      <a:pt x="714" y="781"/>
                    </a:moveTo>
                    <a:cubicBezTo>
                      <a:pt x="714" y="737"/>
                      <a:pt x="714" y="737"/>
                      <a:pt x="714" y="737"/>
                    </a:cubicBezTo>
                    <a:cubicBezTo>
                      <a:pt x="714" y="733"/>
                      <a:pt x="714" y="729"/>
                      <a:pt x="711" y="727"/>
                    </a:cubicBezTo>
                    <a:cubicBezTo>
                      <a:pt x="708" y="723"/>
                      <a:pt x="704" y="721"/>
                      <a:pt x="699" y="721"/>
                    </a:cubicBezTo>
                    <a:cubicBezTo>
                      <a:pt x="693" y="721"/>
                      <a:pt x="687" y="721"/>
                      <a:pt x="682" y="721"/>
                    </a:cubicBezTo>
                    <a:cubicBezTo>
                      <a:pt x="625" y="721"/>
                      <a:pt x="596" y="721"/>
                      <a:pt x="580" y="721"/>
                    </a:cubicBezTo>
                    <a:cubicBezTo>
                      <a:pt x="564" y="721"/>
                      <a:pt x="564" y="721"/>
                      <a:pt x="564" y="721"/>
                    </a:cubicBezTo>
                    <a:cubicBezTo>
                      <a:pt x="555" y="721"/>
                      <a:pt x="548" y="727"/>
                      <a:pt x="548" y="736"/>
                    </a:cubicBezTo>
                    <a:cubicBezTo>
                      <a:pt x="548" y="737"/>
                      <a:pt x="548" y="737"/>
                      <a:pt x="548" y="737"/>
                    </a:cubicBezTo>
                    <a:cubicBezTo>
                      <a:pt x="548" y="753"/>
                      <a:pt x="548" y="765"/>
                      <a:pt x="548" y="775"/>
                    </a:cubicBezTo>
                    <a:cubicBezTo>
                      <a:pt x="548" y="810"/>
                      <a:pt x="548" y="810"/>
                      <a:pt x="548" y="810"/>
                    </a:cubicBezTo>
                    <a:cubicBezTo>
                      <a:pt x="548" y="811"/>
                      <a:pt x="548" y="811"/>
                      <a:pt x="548" y="811"/>
                    </a:cubicBezTo>
                    <a:cubicBezTo>
                      <a:pt x="548" y="819"/>
                      <a:pt x="555" y="826"/>
                      <a:pt x="564" y="826"/>
                    </a:cubicBezTo>
                    <a:cubicBezTo>
                      <a:pt x="699" y="826"/>
                      <a:pt x="699" y="826"/>
                      <a:pt x="699" y="826"/>
                    </a:cubicBezTo>
                    <a:cubicBezTo>
                      <a:pt x="705" y="826"/>
                      <a:pt x="709" y="824"/>
                      <a:pt x="713" y="819"/>
                    </a:cubicBezTo>
                    <a:cubicBezTo>
                      <a:pt x="714" y="816"/>
                      <a:pt x="714" y="813"/>
                      <a:pt x="714" y="810"/>
                    </a:cubicBezTo>
                    <a:cubicBezTo>
                      <a:pt x="714" y="799"/>
                      <a:pt x="714" y="790"/>
                      <a:pt x="714" y="781"/>
                    </a:cubicBezTo>
                    <a:close/>
                    <a:moveTo>
                      <a:pt x="559" y="801"/>
                    </a:moveTo>
                    <a:cubicBezTo>
                      <a:pt x="559" y="801"/>
                      <a:pt x="559" y="801"/>
                      <a:pt x="559" y="806"/>
                    </a:cubicBezTo>
                    <a:cubicBezTo>
                      <a:pt x="559" y="806"/>
                      <a:pt x="559" y="806"/>
                      <a:pt x="559" y="807"/>
                    </a:cubicBezTo>
                    <a:cubicBezTo>
                      <a:pt x="559" y="807"/>
                      <a:pt x="559" y="807"/>
                      <a:pt x="559" y="807"/>
                    </a:cubicBezTo>
                    <a:cubicBezTo>
                      <a:pt x="559" y="807"/>
                      <a:pt x="559" y="807"/>
                      <a:pt x="559" y="808"/>
                    </a:cubicBezTo>
                    <a:cubicBezTo>
                      <a:pt x="559" y="808"/>
                      <a:pt x="559" y="808"/>
                      <a:pt x="559" y="808"/>
                    </a:cubicBezTo>
                    <a:cubicBezTo>
                      <a:pt x="559" y="809"/>
                      <a:pt x="559" y="809"/>
                      <a:pt x="559" y="809"/>
                    </a:cubicBezTo>
                    <a:cubicBezTo>
                      <a:pt x="559" y="809"/>
                      <a:pt x="559" y="809"/>
                      <a:pt x="560" y="809"/>
                    </a:cubicBezTo>
                    <a:cubicBezTo>
                      <a:pt x="560" y="809"/>
                      <a:pt x="560" y="809"/>
                      <a:pt x="560" y="810"/>
                    </a:cubicBezTo>
                    <a:cubicBezTo>
                      <a:pt x="560" y="810"/>
                      <a:pt x="560" y="810"/>
                      <a:pt x="560" y="810"/>
                    </a:cubicBezTo>
                    <a:cubicBezTo>
                      <a:pt x="560" y="810"/>
                      <a:pt x="560" y="810"/>
                      <a:pt x="560" y="811"/>
                    </a:cubicBezTo>
                    <a:cubicBezTo>
                      <a:pt x="560" y="811"/>
                      <a:pt x="560" y="811"/>
                      <a:pt x="561" y="811"/>
                    </a:cubicBezTo>
                    <a:cubicBezTo>
                      <a:pt x="561" y="811"/>
                      <a:pt x="561" y="811"/>
                      <a:pt x="562" y="812"/>
                    </a:cubicBezTo>
                    <a:cubicBezTo>
                      <a:pt x="562" y="812"/>
                      <a:pt x="562" y="812"/>
                      <a:pt x="563" y="812"/>
                    </a:cubicBezTo>
                    <a:cubicBezTo>
                      <a:pt x="563" y="812"/>
                      <a:pt x="563" y="812"/>
                      <a:pt x="564" y="813"/>
                    </a:cubicBezTo>
                    <a:cubicBezTo>
                      <a:pt x="564" y="813"/>
                      <a:pt x="564" y="813"/>
                      <a:pt x="564" y="813"/>
                    </a:cubicBezTo>
                    <a:cubicBezTo>
                      <a:pt x="564" y="813"/>
                      <a:pt x="564" y="813"/>
                      <a:pt x="565" y="813"/>
                    </a:cubicBezTo>
                    <a:cubicBezTo>
                      <a:pt x="565" y="813"/>
                      <a:pt x="565" y="813"/>
                      <a:pt x="565" y="814"/>
                    </a:cubicBezTo>
                    <a:cubicBezTo>
                      <a:pt x="565" y="814"/>
                      <a:pt x="565" y="814"/>
                      <a:pt x="566" y="814"/>
                    </a:cubicBezTo>
                    <a:cubicBezTo>
                      <a:pt x="566" y="814"/>
                      <a:pt x="566" y="814"/>
                      <a:pt x="582" y="814"/>
                    </a:cubicBezTo>
                    <a:cubicBezTo>
                      <a:pt x="582" y="801"/>
                      <a:pt x="582" y="801"/>
                      <a:pt x="582" y="801"/>
                    </a:cubicBezTo>
                    <a:cubicBezTo>
                      <a:pt x="582" y="801"/>
                      <a:pt x="582" y="801"/>
                      <a:pt x="564" y="801"/>
                    </a:cubicBezTo>
                    <a:cubicBezTo>
                      <a:pt x="562" y="801"/>
                      <a:pt x="560" y="801"/>
                      <a:pt x="559" y="801"/>
                    </a:cubicBezTo>
                    <a:close/>
                    <a:moveTo>
                      <a:pt x="121" y="439"/>
                    </a:moveTo>
                    <a:cubicBezTo>
                      <a:pt x="121" y="474"/>
                      <a:pt x="150" y="503"/>
                      <a:pt x="185" y="503"/>
                    </a:cubicBezTo>
                    <a:cubicBezTo>
                      <a:pt x="221" y="503"/>
                      <a:pt x="250" y="474"/>
                      <a:pt x="250" y="439"/>
                    </a:cubicBezTo>
                    <a:cubicBezTo>
                      <a:pt x="250" y="404"/>
                      <a:pt x="221" y="376"/>
                      <a:pt x="185" y="376"/>
                    </a:cubicBezTo>
                    <a:cubicBezTo>
                      <a:pt x="150" y="376"/>
                      <a:pt x="121" y="404"/>
                      <a:pt x="121" y="439"/>
                    </a:cubicBezTo>
                    <a:close/>
                    <a:moveTo>
                      <a:pt x="1535" y="371"/>
                    </a:moveTo>
                    <a:cubicBezTo>
                      <a:pt x="1535" y="412"/>
                      <a:pt x="1569" y="445"/>
                      <a:pt x="1611" y="445"/>
                    </a:cubicBezTo>
                    <a:cubicBezTo>
                      <a:pt x="1653" y="445"/>
                      <a:pt x="1687" y="412"/>
                      <a:pt x="1687" y="371"/>
                    </a:cubicBezTo>
                    <a:cubicBezTo>
                      <a:pt x="1687" y="330"/>
                      <a:pt x="1653" y="297"/>
                      <a:pt x="1611" y="297"/>
                    </a:cubicBezTo>
                    <a:cubicBezTo>
                      <a:pt x="1569" y="297"/>
                      <a:pt x="1535" y="330"/>
                      <a:pt x="1535" y="371"/>
                    </a:cubicBezTo>
                    <a:close/>
                    <a:moveTo>
                      <a:pt x="1146" y="199"/>
                    </a:moveTo>
                    <a:cubicBezTo>
                      <a:pt x="1202" y="199"/>
                      <a:pt x="1248" y="240"/>
                      <a:pt x="1257" y="294"/>
                    </a:cubicBezTo>
                    <a:cubicBezTo>
                      <a:pt x="1258" y="300"/>
                      <a:pt x="1258" y="305"/>
                      <a:pt x="1258" y="311"/>
                    </a:cubicBezTo>
                    <a:cubicBezTo>
                      <a:pt x="1258" y="318"/>
                      <a:pt x="1258" y="324"/>
                      <a:pt x="1257" y="331"/>
                    </a:cubicBezTo>
                    <a:cubicBezTo>
                      <a:pt x="1251" y="362"/>
                      <a:pt x="1232" y="389"/>
                      <a:pt x="1206" y="406"/>
                    </a:cubicBezTo>
                    <a:cubicBezTo>
                      <a:pt x="1196" y="412"/>
                      <a:pt x="1184" y="417"/>
                      <a:pt x="1172" y="421"/>
                    </a:cubicBezTo>
                    <a:cubicBezTo>
                      <a:pt x="1164" y="422"/>
                      <a:pt x="1155" y="423"/>
                      <a:pt x="1146" y="423"/>
                    </a:cubicBezTo>
                    <a:cubicBezTo>
                      <a:pt x="1115" y="423"/>
                      <a:pt x="1087" y="410"/>
                      <a:pt x="1066" y="390"/>
                    </a:cubicBezTo>
                    <a:cubicBezTo>
                      <a:pt x="1058" y="382"/>
                      <a:pt x="1050" y="371"/>
                      <a:pt x="1045" y="360"/>
                    </a:cubicBezTo>
                    <a:cubicBezTo>
                      <a:pt x="1038" y="345"/>
                      <a:pt x="1034" y="329"/>
                      <a:pt x="1034" y="311"/>
                    </a:cubicBezTo>
                    <a:cubicBezTo>
                      <a:pt x="1034" y="310"/>
                      <a:pt x="1034" y="309"/>
                      <a:pt x="1034" y="308"/>
                    </a:cubicBezTo>
                    <a:cubicBezTo>
                      <a:pt x="1034" y="295"/>
                      <a:pt x="1037" y="283"/>
                      <a:pt x="1041" y="272"/>
                    </a:cubicBezTo>
                    <a:cubicBezTo>
                      <a:pt x="1056" y="229"/>
                      <a:pt x="1098" y="199"/>
                      <a:pt x="1146" y="199"/>
                    </a:cubicBezTo>
                    <a:close/>
                    <a:moveTo>
                      <a:pt x="1146" y="381"/>
                    </a:moveTo>
                    <a:cubicBezTo>
                      <a:pt x="1154" y="381"/>
                      <a:pt x="1162" y="373"/>
                      <a:pt x="1162" y="365"/>
                    </a:cubicBezTo>
                    <a:cubicBezTo>
                      <a:pt x="1162" y="355"/>
                      <a:pt x="1154" y="349"/>
                      <a:pt x="1146" y="349"/>
                    </a:cubicBezTo>
                    <a:cubicBezTo>
                      <a:pt x="1137" y="349"/>
                      <a:pt x="1130" y="355"/>
                      <a:pt x="1130" y="365"/>
                    </a:cubicBezTo>
                    <a:cubicBezTo>
                      <a:pt x="1130" y="373"/>
                      <a:pt x="1137" y="381"/>
                      <a:pt x="1146" y="381"/>
                    </a:cubicBezTo>
                    <a:close/>
                    <a:moveTo>
                      <a:pt x="1181" y="347"/>
                    </a:moveTo>
                    <a:cubicBezTo>
                      <a:pt x="1184" y="344"/>
                      <a:pt x="1185" y="339"/>
                      <a:pt x="1181" y="336"/>
                    </a:cubicBezTo>
                    <a:cubicBezTo>
                      <a:pt x="1173" y="325"/>
                      <a:pt x="1160" y="318"/>
                      <a:pt x="1146" y="318"/>
                    </a:cubicBezTo>
                    <a:cubicBezTo>
                      <a:pt x="1132" y="318"/>
                      <a:pt x="1119" y="325"/>
                      <a:pt x="1110" y="336"/>
                    </a:cubicBezTo>
                    <a:cubicBezTo>
                      <a:pt x="1107" y="339"/>
                      <a:pt x="1108" y="344"/>
                      <a:pt x="1111" y="347"/>
                    </a:cubicBezTo>
                    <a:cubicBezTo>
                      <a:pt x="1115" y="349"/>
                      <a:pt x="1120" y="349"/>
                      <a:pt x="1122" y="345"/>
                    </a:cubicBezTo>
                    <a:cubicBezTo>
                      <a:pt x="1128" y="338"/>
                      <a:pt x="1137" y="334"/>
                      <a:pt x="1146" y="334"/>
                    </a:cubicBezTo>
                    <a:cubicBezTo>
                      <a:pt x="1155" y="334"/>
                      <a:pt x="1164" y="338"/>
                      <a:pt x="1170" y="345"/>
                    </a:cubicBezTo>
                    <a:cubicBezTo>
                      <a:pt x="1171" y="348"/>
                      <a:pt x="1173" y="349"/>
                      <a:pt x="1176" y="349"/>
                    </a:cubicBezTo>
                    <a:cubicBezTo>
                      <a:pt x="1177" y="349"/>
                      <a:pt x="1179" y="349"/>
                      <a:pt x="1181" y="347"/>
                    </a:cubicBezTo>
                    <a:close/>
                    <a:moveTo>
                      <a:pt x="1202" y="330"/>
                    </a:moveTo>
                    <a:cubicBezTo>
                      <a:pt x="1205" y="327"/>
                      <a:pt x="1205" y="322"/>
                      <a:pt x="1203" y="319"/>
                    </a:cubicBezTo>
                    <a:cubicBezTo>
                      <a:pt x="1189" y="301"/>
                      <a:pt x="1168" y="292"/>
                      <a:pt x="1146" y="292"/>
                    </a:cubicBezTo>
                    <a:cubicBezTo>
                      <a:pt x="1124" y="292"/>
                      <a:pt x="1103" y="301"/>
                      <a:pt x="1089" y="319"/>
                    </a:cubicBezTo>
                    <a:cubicBezTo>
                      <a:pt x="1087" y="322"/>
                      <a:pt x="1087" y="327"/>
                      <a:pt x="1090" y="330"/>
                    </a:cubicBezTo>
                    <a:cubicBezTo>
                      <a:pt x="1094" y="333"/>
                      <a:pt x="1099" y="333"/>
                      <a:pt x="1102" y="329"/>
                    </a:cubicBezTo>
                    <a:cubicBezTo>
                      <a:pt x="1113" y="316"/>
                      <a:pt x="1129" y="308"/>
                      <a:pt x="1146" y="308"/>
                    </a:cubicBezTo>
                    <a:cubicBezTo>
                      <a:pt x="1163" y="308"/>
                      <a:pt x="1179" y="316"/>
                      <a:pt x="1190" y="329"/>
                    </a:cubicBezTo>
                    <a:cubicBezTo>
                      <a:pt x="1192" y="331"/>
                      <a:pt x="1194" y="332"/>
                      <a:pt x="1197" y="332"/>
                    </a:cubicBezTo>
                    <a:cubicBezTo>
                      <a:pt x="1198" y="332"/>
                      <a:pt x="1200" y="332"/>
                      <a:pt x="1202" y="330"/>
                    </a:cubicBezTo>
                    <a:close/>
                    <a:moveTo>
                      <a:pt x="1224" y="312"/>
                    </a:moveTo>
                    <a:cubicBezTo>
                      <a:pt x="1227" y="309"/>
                      <a:pt x="1228" y="305"/>
                      <a:pt x="1225" y="300"/>
                    </a:cubicBezTo>
                    <a:cubicBezTo>
                      <a:pt x="1206" y="277"/>
                      <a:pt x="1177" y="263"/>
                      <a:pt x="1146" y="263"/>
                    </a:cubicBezTo>
                    <a:cubicBezTo>
                      <a:pt x="1115" y="263"/>
                      <a:pt x="1086" y="277"/>
                      <a:pt x="1066" y="300"/>
                    </a:cubicBezTo>
                    <a:cubicBezTo>
                      <a:pt x="1064" y="305"/>
                      <a:pt x="1065" y="309"/>
                      <a:pt x="1068" y="312"/>
                    </a:cubicBezTo>
                    <a:cubicBezTo>
                      <a:pt x="1071" y="315"/>
                      <a:pt x="1077" y="314"/>
                      <a:pt x="1079" y="311"/>
                    </a:cubicBezTo>
                    <a:cubicBezTo>
                      <a:pt x="1096" y="290"/>
                      <a:pt x="1120" y="279"/>
                      <a:pt x="1146" y="279"/>
                    </a:cubicBezTo>
                    <a:cubicBezTo>
                      <a:pt x="1172" y="279"/>
                      <a:pt x="1197" y="290"/>
                      <a:pt x="1213" y="311"/>
                    </a:cubicBezTo>
                    <a:cubicBezTo>
                      <a:pt x="1214" y="313"/>
                      <a:pt x="1217" y="314"/>
                      <a:pt x="1219" y="314"/>
                    </a:cubicBezTo>
                    <a:cubicBezTo>
                      <a:pt x="1220" y="314"/>
                      <a:pt x="1223" y="313"/>
                      <a:pt x="1224" y="312"/>
                    </a:cubicBezTo>
                    <a:close/>
                    <a:moveTo>
                      <a:pt x="597" y="278"/>
                    </a:moveTo>
                    <a:cubicBezTo>
                      <a:pt x="597" y="298"/>
                      <a:pt x="613" y="315"/>
                      <a:pt x="634" y="315"/>
                    </a:cubicBezTo>
                    <a:cubicBezTo>
                      <a:pt x="654" y="315"/>
                      <a:pt x="671" y="298"/>
                      <a:pt x="671" y="278"/>
                    </a:cubicBezTo>
                    <a:cubicBezTo>
                      <a:pt x="671" y="257"/>
                      <a:pt x="654" y="240"/>
                      <a:pt x="634" y="240"/>
                    </a:cubicBezTo>
                    <a:cubicBezTo>
                      <a:pt x="613" y="240"/>
                      <a:pt x="597" y="257"/>
                      <a:pt x="597" y="278"/>
                    </a:cubicBezTo>
                    <a:close/>
                    <a:moveTo>
                      <a:pt x="1116" y="48"/>
                    </a:moveTo>
                    <a:cubicBezTo>
                      <a:pt x="1116" y="68"/>
                      <a:pt x="1133" y="85"/>
                      <a:pt x="1154" y="85"/>
                    </a:cubicBezTo>
                    <a:cubicBezTo>
                      <a:pt x="1175" y="85"/>
                      <a:pt x="1192" y="68"/>
                      <a:pt x="1192" y="48"/>
                    </a:cubicBezTo>
                    <a:cubicBezTo>
                      <a:pt x="1192" y="27"/>
                      <a:pt x="1175" y="11"/>
                      <a:pt x="1154" y="11"/>
                    </a:cubicBezTo>
                    <a:cubicBezTo>
                      <a:pt x="1133" y="11"/>
                      <a:pt x="1116" y="27"/>
                      <a:pt x="1116" y="48"/>
                    </a:cubicBezTo>
                    <a:close/>
                    <a:moveTo>
                      <a:pt x="673" y="37"/>
                    </a:moveTo>
                    <a:cubicBezTo>
                      <a:pt x="673" y="58"/>
                      <a:pt x="690" y="74"/>
                      <a:pt x="711" y="74"/>
                    </a:cubicBezTo>
                    <a:cubicBezTo>
                      <a:pt x="732" y="74"/>
                      <a:pt x="749" y="58"/>
                      <a:pt x="749" y="37"/>
                    </a:cubicBezTo>
                    <a:cubicBezTo>
                      <a:pt x="749" y="17"/>
                      <a:pt x="732" y="0"/>
                      <a:pt x="711" y="0"/>
                    </a:cubicBezTo>
                    <a:cubicBezTo>
                      <a:pt x="690" y="0"/>
                      <a:pt x="673" y="17"/>
                      <a:pt x="673" y="37"/>
                    </a:cubicBezTo>
                    <a:close/>
                    <a:moveTo>
                      <a:pt x="924" y="1363"/>
                    </a:moveTo>
                    <a:cubicBezTo>
                      <a:pt x="924" y="1363"/>
                      <a:pt x="924" y="1363"/>
                      <a:pt x="916" y="1363"/>
                    </a:cubicBezTo>
                    <a:cubicBezTo>
                      <a:pt x="915" y="1363"/>
                      <a:pt x="915" y="1363"/>
                      <a:pt x="914" y="1363"/>
                    </a:cubicBezTo>
                    <a:cubicBezTo>
                      <a:pt x="911" y="1363"/>
                      <a:pt x="906" y="1363"/>
                      <a:pt x="899" y="1363"/>
                    </a:cubicBezTo>
                    <a:cubicBezTo>
                      <a:pt x="896" y="1363"/>
                      <a:pt x="891" y="1363"/>
                      <a:pt x="886" y="1363"/>
                    </a:cubicBezTo>
                    <a:cubicBezTo>
                      <a:pt x="882" y="1363"/>
                      <a:pt x="877" y="1363"/>
                      <a:pt x="872" y="1363"/>
                    </a:cubicBezTo>
                    <a:cubicBezTo>
                      <a:pt x="868" y="1363"/>
                      <a:pt x="863" y="1363"/>
                      <a:pt x="858" y="1363"/>
                    </a:cubicBezTo>
                    <a:cubicBezTo>
                      <a:pt x="853" y="1363"/>
                      <a:pt x="848" y="1363"/>
                      <a:pt x="843" y="1363"/>
                    </a:cubicBezTo>
                    <a:cubicBezTo>
                      <a:pt x="843" y="1363"/>
                      <a:pt x="842" y="1363"/>
                      <a:pt x="841" y="1363"/>
                    </a:cubicBezTo>
                    <a:cubicBezTo>
                      <a:pt x="838" y="1363"/>
                      <a:pt x="836" y="1363"/>
                      <a:pt x="833" y="1363"/>
                    </a:cubicBezTo>
                    <a:cubicBezTo>
                      <a:pt x="833" y="1363"/>
                      <a:pt x="832" y="1364"/>
                      <a:pt x="832" y="1365"/>
                    </a:cubicBezTo>
                    <a:cubicBezTo>
                      <a:pt x="832" y="1365"/>
                      <a:pt x="832" y="1365"/>
                      <a:pt x="832" y="1374"/>
                    </a:cubicBezTo>
                    <a:cubicBezTo>
                      <a:pt x="832" y="1374"/>
                      <a:pt x="832" y="1375"/>
                      <a:pt x="832" y="1375"/>
                    </a:cubicBezTo>
                    <a:cubicBezTo>
                      <a:pt x="832" y="1379"/>
                      <a:pt x="832" y="1384"/>
                      <a:pt x="832" y="1391"/>
                    </a:cubicBezTo>
                    <a:cubicBezTo>
                      <a:pt x="832" y="1394"/>
                      <a:pt x="832" y="1399"/>
                      <a:pt x="832" y="1405"/>
                    </a:cubicBezTo>
                    <a:cubicBezTo>
                      <a:pt x="832" y="1409"/>
                      <a:pt x="832" y="1414"/>
                      <a:pt x="832" y="1419"/>
                    </a:cubicBezTo>
                    <a:cubicBezTo>
                      <a:pt x="832" y="1424"/>
                      <a:pt x="832" y="1428"/>
                      <a:pt x="832" y="1433"/>
                    </a:cubicBezTo>
                    <a:cubicBezTo>
                      <a:pt x="832" y="1438"/>
                      <a:pt x="832" y="1444"/>
                      <a:pt x="832" y="1449"/>
                    </a:cubicBezTo>
                    <a:cubicBezTo>
                      <a:pt x="832" y="1450"/>
                      <a:pt x="832" y="1450"/>
                      <a:pt x="832" y="1451"/>
                    </a:cubicBezTo>
                    <a:cubicBezTo>
                      <a:pt x="832" y="1453"/>
                      <a:pt x="832" y="1456"/>
                      <a:pt x="832" y="1459"/>
                    </a:cubicBezTo>
                    <a:cubicBezTo>
                      <a:pt x="832" y="1460"/>
                      <a:pt x="833" y="1461"/>
                      <a:pt x="833" y="1461"/>
                    </a:cubicBezTo>
                    <a:cubicBezTo>
                      <a:pt x="833" y="1461"/>
                      <a:pt x="833" y="1461"/>
                      <a:pt x="841" y="1461"/>
                    </a:cubicBezTo>
                    <a:cubicBezTo>
                      <a:pt x="842" y="1461"/>
                      <a:pt x="843" y="1461"/>
                      <a:pt x="843" y="1461"/>
                    </a:cubicBezTo>
                    <a:cubicBezTo>
                      <a:pt x="847" y="1461"/>
                      <a:pt x="852" y="1461"/>
                      <a:pt x="858" y="1461"/>
                    </a:cubicBezTo>
                    <a:cubicBezTo>
                      <a:pt x="862" y="1461"/>
                      <a:pt x="866" y="1461"/>
                      <a:pt x="872" y="1461"/>
                    </a:cubicBezTo>
                    <a:cubicBezTo>
                      <a:pt x="876" y="1461"/>
                      <a:pt x="881" y="1461"/>
                      <a:pt x="886" y="1461"/>
                    </a:cubicBezTo>
                    <a:cubicBezTo>
                      <a:pt x="890" y="1461"/>
                      <a:pt x="894" y="1461"/>
                      <a:pt x="899" y="1461"/>
                    </a:cubicBezTo>
                    <a:cubicBezTo>
                      <a:pt x="904" y="1461"/>
                      <a:pt x="908" y="1461"/>
                      <a:pt x="914" y="1461"/>
                    </a:cubicBezTo>
                    <a:cubicBezTo>
                      <a:pt x="915" y="1461"/>
                      <a:pt x="915" y="1461"/>
                      <a:pt x="916" y="1461"/>
                    </a:cubicBezTo>
                    <a:cubicBezTo>
                      <a:pt x="918" y="1461"/>
                      <a:pt x="921" y="1461"/>
                      <a:pt x="924" y="1461"/>
                    </a:cubicBezTo>
                    <a:cubicBezTo>
                      <a:pt x="925" y="1461"/>
                      <a:pt x="926" y="1460"/>
                      <a:pt x="926" y="1459"/>
                    </a:cubicBezTo>
                    <a:cubicBezTo>
                      <a:pt x="926" y="1459"/>
                      <a:pt x="926" y="1459"/>
                      <a:pt x="926" y="1451"/>
                    </a:cubicBezTo>
                    <a:cubicBezTo>
                      <a:pt x="926" y="1451"/>
                      <a:pt x="926" y="1450"/>
                      <a:pt x="926" y="1449"/>
                    </a:cubicBezTo>
                    <a:cubicBezTo>
                      <a:pt x="926" y="1445"/>
                      <a:pt x="926" y="1440"/>
                      <a:pt x="926" y="1433"/>
                    </a:cubicBezTo>
                    <a:cubicBezTo>
                      <a:pt x="926" y="1430"/>
                      <a:pt x="926" y="1425"/>
                      <a:pt x="926" y="1419"/>
                    </a:cubicBezTo>
                    <a:cubicBezTo>
                      <a:pt x="926" y="1415"/>
                      <a:pt x="926" y="1410"/>
                      <a:pt x="926" y="1405"/>
                    </a:cubicBezTo>
                    <a:cubicBezTo>
                      <a:pt x="926" y="1400"/>
                      <a:pt x="926" y="1395"/>
                      <a:pt x="926" y="1391"/>
                    </a:cubicBezTo>
                    <a:cubicBezTo>
                      <a:pt x="926" y="1386"/>
                      <a:pt x="926" y="1381"/>
                      <a:pt x="926" y="1375"/>
                    </a:cubicBezTo>
                    <a:cubicBezTo>
                      <a:pt x="926" y="1375"/>
                      <a:pt x="926" y="1374"/>
                      <a:pt x="926" y="1374"/>
                    </a:cubicBezTo>
                    <a:cubicBezTo>
                      <a:pt x="926" y="1371"/>
                      <a:pt x="926" y="1368"/>
                      <a:pt x="926" y="1365"/>
                    </a:cubicBezTo>
                    <a:cubicBezTo>
                      <a:pt x="926" y="1364"/>
                      <a:pt x="925" y="1363"/>
                      <a:pt x="924" y="1363"/>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62" name="TextBox 61">
            <a:extLst>
              <a:ext uri="{FF2B5EF4-FFF2-40B4-BE49-F238E27FC236}">
                <a16:creationId xmlns:a16="http://schemas.microsoft.com/office/drawing/2014/main" id="{80F7D6CA-27A2-47D1-AE17-F62E0AB1ACF4}"/>
              </a:ext>
            </a:extLst>
          </p:cNvPr>
          <p:cNvSpPr txBox="1"/>
          <p:nvPr/>
        </p:nvSpPr>
        <p:spPr>
          <a:xfrm>
            <a:off x="5945253" y="1372842"/>
            <a:ext cx="5941946" cy="4647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rgbClr val="164484"/>
                </a:solidFill>
              </a:rPr>
              <a:t>Bipartisan Infrastructure Law invests roughly $65B into high-speed internet efforts through 7 federal programs:</a:t>
            </a:r>
          </a:p>
          <a:p>
            <a:pPr>
              <a:buClr>
                <a:srgbClr val="0A3161"/>
              </a:buClr>
              <a:buFont typeface="Trebuchet MS" panose="020B0603020202020204" pitchFamily="34" charset="0"/>
              <a:buChar char="​"/>
            </a:pPr>
            <a:endParaRPr lang="en-US" b="1" dirty="0">
              <a:solidFill>
                <a:srgbClr val="000000"/>
              </a:solidFill>
            </a:endParaRPr>
          </a:p>
          <a:p>
            <a:pPr>
              <a:buClr>
                <a:srgbClr val="0A3161"/>
              </a:buClr>
              <a:buFont typeface="Trebuchet MS" panose="020B0603020202020204" pitchFamily="34" charset="0"/>
              <a:buChar char="​"/>
            </a:pPr>
            <a:r>
              <a:rPr lang="en-US" sz="1600" dirty="0">
                <a:solidFill>
                  <a:srgbClr val="164484"/>
                </a:solidFill>
              </a:rPr>
              <a:t>Administered by National Telecommunications and Information Administration (NTIA)</a:t>
            </a:r>
          </a:p>
          <a:p>
            <a:pPr marL="486000" lvl="1" indent="-324000">
              <a:buClr>
                <a:srgbClr val="0A3161"/>
              </a:buClr>
              <a:buFont typeface="Trebuchet MS" panose="020B0603020202020204" pitchFamily="34" charset="0"/>
              <a:buChar char="•"/>
            </a:pPr>
            <a:r>
              <a:rPr lang="en-US" sz="1600" dirty="0">
                <a:solidFill>
                  <a:srgbClr val="000000"/>
                </a:solidFill>
              </a:rPr>
              <a:t>Broadband Equity, Access, and Deployment (BEAD) Program ($42.45B)</a:t>
            </a:r>
          </a:p>
          <a:p>
            <a:pPr marL="486000" lvl="1" indent="-324000">
              <a:buClr>
                <a:srgbClr val="0A3161"/>
              </a:buClr>
              <a:buFont typeface="Trebuchet MS" panose="020B0603020202020204" pitchFamily="34" charset="0"/>
              <a:buChar char="•"/>
            </a:pPr>
            <a:r>
              <a:rPr lang="en-US" sz="1600" dirty="0">
                <a:solidFill>
                  <a:srgbClr val="000000"/>
                </a:solidFill>
              </a:rPr>
              <a:t>Digital Equity Planning, Capacity</a:t>
            </a:r>
            <a:r>
              <a:rPr lang="en-US" sz="1600" dirty="0">
                <a:solidFill>
                  <a:srgbClr val="FF0000"/>
                </a:solidFill>
              </a:rPr>
              <a:t>,</a:t>
            </a:r>
            <a:r>
              <a:rPr lang="en-US" sz="1600" dirty="0">
                <a:solidFill>
                  <a:srgbClr val="000000"/>
                </a:solidFill>
              </a:rPr>
              <a:t> and Competitive Grants ($2.75B)</a:t>
            </a:r>
          </a:p>
          <a:p>
            <a:pPr marL="486000" lvl="1" indent="-324000">
              <a:buClr>
                <a:srgbClr val="0A3161"/>
              </a:buClr>
              <a:buFont typeface="Trebuchet MS" panose="020B0603020202020204" pitchFamily="34" charset="0"/>
              <a:buChar char="•"/>
            </a:pPr>
            <a:r>
              <a:rPr lang="en-US" sz="1600" dirty="0">
                <a:solidFill>
                  <a:srgbClr val="000000"/>
                </a:solidFill>
              </a:rPr>
              <a:t>Tribal Broadband Connectivity Program ($2.00B)</a:t>
            </a:r>
          </a:p>
          <a:p>
            <a:pPr marL="486000" lvl="1" indent="-324000">
              <a:buClr>
                <a:srgbClr val="0A3161"/>
              </a:buClr>
              <a:buFont typeface="Trebuchet MS" panose="020B0603020202020204" pitchFamily="34" charset="0"/>
              <a:buChar char="•"/>
            </a:pPr>
            <a:r>
              <a:rPr lang="en-US" sz="1600" dirty="0">
                <a:solidFill>
                  <a:srgbClr val="000000"/>
                </a:solidFill>
              </a:rPr>
              <a:t>Middle Mile Broadband Infrastructure Program ($1.0B)</a:t>
            </a:r>
          </a:p>
          <a:p>
            <a:pPr>
              <a:buClr>
                <a:srgbClr val="0A3161"/>
              </a:buClr>
              <a:buFont typeface="Trebuchet MS" panose="020B0603020202020204" pitchFamily="34" charset="0"/>
              <a:buChar char="​"/>
            </a:pPr>
            <a:endParaRPr lang="en-US" sz="1600" dirty="0">
              <a:solidFill>
                <a:srgbClr val="000000"/>
              </a:solidFill>
            </a:endParaRPr>
          </a:p>
          <a:p>
            <a:pPr>
              <a:buClr>
                <a:srgbClr val="0A3161"/>
              </a:buClr>
            </a:pPr>
            <a:r>
              <a:rPr lang="en-US" sz="1600" dirty="0">
                <a:solidFill>
                  <a:srgbClr val="164484"/>
                </a:solidFill>
              </a:rPr>
              <a:t>Administered by other federal agencies </a:t>
            </a:r>
          </a:p>
          <a:p>
            <a:pPr marL="486000" lvl="1" indent="-324000">
              <a:buClr>
                <a:srgbClr val="0A3161"/>
              </a:buClr>
              <a:buFont typeface="Trebuchet MS" panose="020B0603020202020204" pitchFamily="34" charset="0"/>
              <a:buChar char="•"/>
            </a:pPr>
            <a:r>
              <a:rPr lang="en-US" sz="1600" dirty="0">
                <a:solidFill>
                  <a:srgbClr val="000000"/>
                </a:solidFill>
              </a:rPr>
              <a:t>Affordable Connectivity Program ($14.2B)</a:t>
            </a:r>
          </a:p>
          <a:p>
            <a:pPr marL="486000" lvl="1" indent="-324000">
              <a:buClr>
                <a:srgbClr val="0A3161"/>
              </a:buClr>
              <a:buFont typeface="Trebuchet MS" panose="020B0603020202020204" pitchFamily="34" charset="0"/>
              <a:buChar char="•"/>
            </a:pPr>
            <a:r>
              <a:rPr lang="en-US" sz="1600" dirty="0">
                <a:solidFill>
                  <a:srgbClr val="000000"/>
                </a:solidFill>
              </a:rPr>
              <a:t>Rural Broadband Programs at the Department of Agriculture ($2.0B)</a:t>
            </a:r>
          </a:p>
          <a:p>
            <a:pPr marL="486000" lvl="1" indent="-324000">
              <a:buClr>
                <a:srgbClr val="0A3161"/>
              </a:buClr>
              <a:buFont typeface="Trebuchet MS" panose="020B0603020202020204" pitchFamily="34" charset="0"/>
              <a:buChar char="•"/>
            </a:pPr>
            <a:r>
              <a:rPr lang="en-US" sz="1600" dirty="0">
                <a:solidFill>
                  <a:srgbClr val="000000"/>
                </a:solidFill>
              </a:rPr>
              <a:t>Private Activity Bonds ($0.6B)</a:t>
            </a:r>
          </a:p>
        </p:txBody>
      </p:sp>
      <p:grpSp>
        <p:nvGrpSpPr>
          <p:cNvPr id="64" name="Group 63">
            <a:extLst>
              <a:ext uri="{FF2B5EF4-FFF2-40B4-BE49-F238E27FC236}">
                <a16:creationId xmlns:a16="http://schemas.microsoft.com/office/drawing/2014/main" id="{66DEC840-C468-4C03-911B-EF358D0EE742}"/>
              </a:ext>
            </a:extLst>
          </p:cNvPr>
          <p:cNvGrpSpPr/>
          <p:nvPr/>
        </p:nvGrpSpPr>
        <p:grpSpPr>
          <a:xfrm>
            <a:off x="5542421" y="1661215"/>
            <a:ext cx="306171" cy="4079081"/>
            <a:chOff x="5942914" y="2081213"/>
            <a:chExt cx="306171" cy="4079081"/>
          </a:xfrm>
        </p:grpSpPr>
        <p:cxnSp>
          <p:nvCxnSpPr>
            <p:cNvPr id="65" name="Straight Connector 64">
              <a:extLst>
                <a:ext uri="{FF2B5EF4-FFF2-40B4-BE49-F238E27FC236}">
                  <a16:creationId xmlns:a16="http://schemas.microsoft.com/office/drawing/2014/main" id="{A347F906-A593-4DBB-BE64-BD4172793583}"/>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042EB3A8-67B7-4933-AC55-0D0CC6F4A0F9}"/>
                </a:ext>
              </a:extLst>
            </p:cNvPr>
            <p:cNvGrpSpPr/>
            <p:nvPr/>
          </p:nvGrpSpPr>
          <p:grpSpPr>
            <a:xfrm>
              <a:off x="5942914" y="3967299"/>
              <a:ext cx="306171" cy="306910"/>
              <a:chOff x="5937564" y="3833745"/>
              <a:chExt cx="306171" cy="306910"/>
            </a:xfrm>
          </p:grpSpPr>
          <p:sp>
            <p:nvSpPr>
              <p:cNvPr id="67" name="Freeform 94">
                <a:extLst>
                  <a:ext uri="{FF2B5EF4-FFF2-40B4-BE49-F238E27FC236}">
                    <a16:creationId xmlns:a16="http://schemas.microsoft.com/office/drawing/2014/main" id="{B57448CF-E59E-443A-BDAF-7D6DC439DC2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245795"/>
              </a:solidFill>
              <a:ln>
                <a:solidFill>
                  <a:srgbClr val="0A3161"/>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8" name="Freeform 95">
                <a:extLst>
                  <a:ext uri="{FF2B5EF4-FFF2-40B4-BE49-F238E27FC236}">
                    <a16:creationId xmlns:a16="http://schemas.microsoft.com/office/drawing/2014/main" id="{3EBE44CC-292B-4C20-A638-6D7EEB02303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extLst>
      <p:ext uri="{BB962C8B-B14F-4D97-AF65-F5344CB8AC3E}">
        <p14:creationId xmlns:p14="http://schemas.microsoft.com/office/powerpoint/2010/main" val="2495941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737FD5-DAED-4EE9-8DE4-73BBB76302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4"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29737FD5-DAED-4EE9-8DE4-73BBB76302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3BA3939-5B84-4B4C-949A-53CC9288D97B}"/>
              </a:ext>
            </a:extLst>
          </p:cNvPr>
          <p:cNvSpPr>
            <a:spLocks noGrp="1"/>
          </p:cNvSpPr>
          <p:nvPr>
            <p:ph type="title"/>
          </p:nvPr>
        </p:nvSpPr>
        <p:spPr/>
        <p:txBody>
          <a:bodyPr vert="horz">
            <a:normAutofit/>
          </a:bodyPr>
          <a:lstStyle/>
          <a:p>
            <a:r>
              <a:rPr lang="en-US" cap="none" dirty="0">
                <a:solidFill>
                  <a:srgbClr val="164484"/>
                </a:solidFill>
              </a:rPr>
              <a:t>High-speed internet helps individuals and our country</a:t>
            </a:r>
          </a:p>
        </p:txBody>
      </p:sp>
      <p:sp>
        <p:nvSpPr>
          <p:cNvPr id="4" name="TextBox 3">
            <a:extLst>
              <a:ext uri="{FF2B5EF4-FFF2-40B4-BE49-F238E27FC236}">
                <a16:creationId xmlns:a16="http://schemas.microsoft.com/office/drawing/2014/main" id="{6E4B7AC3-2DFF-47DE-9342-550B1B76DF9E}"/>
              </a:ext>
            </a:extLst>
          </p:cNvPr>
          <p:cNvSpPr txBox="1"/>
          <p:nvPr/>
        </p:nvSpPr>
        <p:spPr>
          <a:xfrm>
            <a:off x="1343887" y="1570114"/>
            <a:ext cx="9862830" cy="47705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600" b="1" dirty="0">
                <a:solidFill>
                  <a:srgbClr val="164484"/>
                </a:solidFill>
              </a:rPr>
              <a:t>Maximizing savings for </a:t>
            </a:r>
            <a:r>
              <a:rPr lang="en-US" sz="1600" b="1" u="sng" dirty="0">
                <a:solidFill>
                  <a:srgbClr val="164484"/>
                </a:solidFill>
              </a:rPr>
              <a:t>education</a:t>
            </a:r>
          </a:p>
          <a:p>
            <a:r>
              <a:rPr lang="en-US" sz="1600" dirty="0">
                <a:solidFill>
                  <a:srgbClr val="000000"/>
                </a:solidFill>
              </a:rPr>
              <a:t>The internet is not a luxury, it’s a necessity.  Students are asked to utilize internet to complete homework assignments, do research, apply to college or trade schools.  Students who don’t have access in their home are left out and left behind. </a:t>
            </a:r>
          </a:p>
          <a:p>
            <a:endParaRPr lang="en-US" sz="1600" dirty="0">
              <a:solidFill>
                <a:srgbClr val="000000"/>
              </a:solidFill>
            </a:endParaRPr>
          </a:p>
          <a:p>
            <a:r>
              <a:rPr lang="en-US" sz="1600" b="1" dirty="0">
                <a:solidFill>
                  <a:srgbClr val="164484"/>
                </a:solidFill>
              </a:rPr>
              <a:t>Stimulating growth in the </a:t>
            </a:r>
            <a:r>
              <a:rPr lang="en-US" sz="1600" b="1" u="sng" dirty="0">
                <a:solidFill>
                  <a:srgbClr val="164484"/>
                </a:solidFill>
              </a:rPr>
              <a:t>economy</a:t>
            </a:r>
          </a:p>
          <a:p>
            <a:r>
              <a:rPr lang="en-US" sz="1600" dirty="0">
                <a:solidFill>
                  <a:srgbClr val="000000"/>
                </a:solidFill>
              </a:rPr>
              <a:t>By connecting the workplace, we can better connect businesses to </a:t>
            </a:r>
            <a:r>
              <a:rPr lang="en-US" sz="1600" dirty="0">
                <a:solidFill>
                  <a:schemeClr val="tx1"/>
                </a:solidFill>
              </a:rPr>
              <a:t>consumers. New markets can increase sales and create jobs. High-speed internet helps American businesses compete for talent and </a:t>
            </a:r>
            <a:r>
              <a:rPr lang="en-US" sz="1600" dirty="0">
                <a:solidFill>
                  <a:srgbClr val="000000"/>
                </a:solidFill>
              </a:rPr>
              <a:t>business in the global marketplace.</a:t>
            </a:r>
          </a:p>
          <a:p>
            <a:endParaRPr lang="en-US" sz="1600" dirty="0">
              <a:solidFill>
                <a:srgbClr val="000000"/>
              </a:solidFill>
            </a:endParaRPr>
          </a:p>
          <a:p>
            <a:r>
              <a:rPr lang="en-US" sz="1600" b="1" dirty="0">
                <a:solidFill>
                  <a:srgbClr val="164484"/>
                </a:solidFill>
              </a:rPr>
              <a:t>Lowering costs for </a:t>
            </a:r>
            <a:r>
              <a:rPr lang="en-US" sz="1600" b="1" u="sng" dirty="0">
                <a:solidFill>
                  <a:srgbClr val="164484"/>
                </a:solidFill>
              </a:rPr>
              <a:t>health</a:t>
            </a:r>
            <a:r>
              <a:rPr lang="en-US" sz="1600" u="sng" dirty="0">
                <a:solidFill>
                  <a:srgbClr val="000000"/>
                </a:solidFill>
              </a:rPr>
              <a:t> </a:t>
            </a:r>
          </a:p>
          <a:p>
            <a:r>
              <a:rPr lang="en-US" sz="1600" dirty="0">
                <a:solidFill>
                  <a:srgbClr val="000000"/>
                </a:solidFill>
              </a:rPr>
              <a:t>Telehealth reduces </a:t>
            </a:r>
            <a:r>
              <a:rPr lang="en-US" sz="1600" dirty="0">
                <a:solidFill>
                  <a:schemeClr val="tx1"/>
                </a:solidFill>
              </a:rPr>
              <a:t>hospital visits and cuts down hospital stay time. Hospitals with high-speed internet save money because they have lower administration costs. By offering telehealth, they save money while improving patient access. </a:t>
            </a:r>
          </a:p>
          <a:p>
            <a:endParaRPr lang="en-US" sz="1600" dirty="0">
              <a:solidFill>
                <a:srgbClr val="000000"/>
              </a:solidFill>
            </a:endParaRPr>
          </a:p>
          <a:p>
            <a:r>
              <a:rPr lang="en-US" sz="1600" b="1" dirty="0">
                <a:solidFill>
                  <a:srgbClr val="164484"/>
                </a:solidFill>
              </a:rPr>
              <a:t>Strengthening ties in our </a:t>
            </a:r>
            <a:r>
              <a:rPr lang="en-US" sz="1600" b="1" u="sng" dirty="0">
                <a:solidFill>
                  <a:srgbClr val="164484"/>
                </a:solidFill>
              </a:rPr>
              <a:t>community</a:t>
            </a:r>
          </a:p>
          <a:p>
            <a:r>
              <a:rPr lang="en-US" sz="1600" dirty="0">
                <a:solidFill>
                  <a:srgbClr val="000000"/>
                </a:solidFill>
              </a:rPr>
              <a:t>High-speed </a:t>
            </a:r>
            <a:r>
              <a:rPr lang="en-US" sz="1600" dirty="0">
                <a:solidFill>
                  <a:schemeClr val="tx1"/>
                </a:solidFill>
              </a:rPr>
              <a:t>internet connects us to services we need. It helps first responders save lives, lets us connect with our elected officials, and it strengthens our ties to our neighbors. One in four Americans get online alerts about local issues, and one in five use digital tools to stay in touch with their community.</a:t>
            </a:r>
          </a:p>
        </p:txBody>
      </p:sp>
      <p:grpSp>
        <p:nvGrpSpPr>
          <p:cNvPr id="41" name="Group 40">
            <a:extLst>
              <a:ext uri="{FF2B5EF4-FFF2-40B4-BE49-F238E27FC236}">
                <a16:creationId xmlns:a16="http://schemas.microsoft.com/office/drawing/2014/main" id="{2EB043B7-A58D-474C-8596-F3CE4CDF1605}"/>
              </a:ext>
            </a:extLst>
          </p:cNvPr>
          <p:cNvGrpSpPr>
            <a:grpSpLocks noChangeAspect="1"/>
          </p:cNvGrpSpPr>
          <p:nvPr/>
        </p:nvGrpSpPr>
        <p:grpSpPr>
          <a:xfrm>
            <a:off x="400051" y="1722871"/>
            <a:ext cx="901594" cy="901594"/>
            <a:chOff x="5275263" y="2608262"/>
            <a:chExt cx="1644650" cy="1644650"/>
          </a:xfrm>
        </p:grpSpPr>
        <p:sp>
          <p:nvSpPr>
            <p:cNvPr id="42" name="AutoShape 49">
              <a:extLst>
                <a:ext uri="{FF2B5EF4-FFF2-40B4-BE49-F238E27FC236}">
                  <a16:creationId xmlns:a16="http://schemas.microsoft.com/office/drawing/2014/main" id="{0C7ADA10-0A07-4156-8845-CD3202C5F68C}"/>
                </a:ext>
              </a:extLst>
            </p:cNvPr>
            <p:cNvSpPr>
              <a:spLocks noChangeAspect="1" noChangeArrowheads="1" noTextEdit="1"/>
            </p:cNvSpPr>
            <p:nvPr/>
          </p:nvSpPr>
          <p:spPr bwMode="auto">
            <a:xfrm>
              <a:off x="5275263" y="2608262"/>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A72DC9BE-D6BB-43CA-A61A-41EF3EBA21FA}"/>
                </a:ext>
              </a:extLst>
            </p:cNvPr>
            <p:cNvGrpSpPr/>
            <p:nvPr/>
          </p:nvGrpSpPr>
          <p:grpSpPr>
            <a:xfrm>
              <a:off x="5450917" y="2710225"/>
              <a:ext cx="1291236" cy="1407638"/>
              <a:chOff x="5450917" y="2710225"/>
              <a:chExt cx="1291236" cy="1407638"/>
            </a:xfrm>
          </p:grpSpPr>
          <p:sp>
            <p:nvSpPr>
              <p:cNvPr id="44" name="Freeform 51">
                <a:extLst>
                  <a:ext uri="{FF2B5EF4-FFF2-40B4-BE49-F238E27FC236}">
                    <a16:creationId xmlns:a16="http://schemas.microsoft.com/office/drawing/2014/main" id="{4F7FE222-EFCD-450B-9EAB-948821B65CFA}"/>
                  </a:ext>
                </a:extLst>
              </p:cNvPr>
              <p:cNvSpPr>
                <a:spLocks noEditPoints="1"/>
              </p:cNvSpPr>
              <p:nvPr/>
            </p:nvSpPr>
            <p:spPr bwMode="auto">
              <a:xfrm>
                <a:off x="5453022" y="2952953"/>
                <a:ext cx="1289131" cy="1164910"/>
              </a:xfrm>
              <a:custGeom>
                <a:avLst/>
                <a:gdLst>
                  <a:gd name="T0" fmla="*/ 903 w 1806"/>
                  <a:gd name="T1" fmla="*/ 1219 h 1632"/>
                  <a:gd name="T2" fmla="*/ 683 w 1806"/>
                  <a:gd name="T3" fmla="*/ 1176 h 1632"/>
                  <a:gd name="T4" fmla="*/ 646 w 1806"/>
                  <a:gd name="T5" fmla="*/ 1193 h 1632"/>
                  <a:gd name="T6" fmla="*/ 639 w 1806"/>
                  <a:gd name="T7" fmla="*/ 1145 h 1632"/>
                  <a:gd name="T8" fmla="*/ 606 w 1806"/>
                  <a:gd name="T9" fmla="*/ 1032 h 1632"/>
                  <a:gd name="T10" fmla="*/ 495 w 1806"/>
                  <a:gd name="T11" fmla="*/ 784 h 1632"/>
                  <a:gd name="T12" fmla="*/ 484 w 1806"/>
                  <a:gd name="T13" fmla="*/ 776 h 1632"/>
                  <a:gd name="T14" fmla="*/ 426 w 1806"/>
                  <a:gd name="T15" fmla="*/ 672 h 1632"/>
                  <a:gd name="T16" fmla="*/ 523 w 1806"/>
                  <a:gd name="T17" fmla="*/ 749 h 1632"/>
                  <a:gd name="T18" fmla="*/ 677 w 1806"/>
                  <a:gd name="T19" fmla="*/ 1062 h 1632"/>
                  <a:gd name="T20" fmla="*/ 1129 w 1806"/>
                  <a:gd name="T21" fmla="*/ 1062 h 1632"/>
                  <a:gd name="T22" fmla="*/ 1283 w 1806"/>
                  <a:gd name="T23" fmla="*/ 749 h 1632"/>
                  <a:gd name="T24" fmla="*/ 1380 w 1806"/>
                  <a:gd name="T25" fmla="*/ 671 h 1632"/>
                  <a:gd name="T26" fmla="*/ 1321 w 1806"/>
                  <a:gd name="T27" fmla="*/ 777 h 1632"/>
                  <a:gd name="T28" fmla="*/ 1311 w 1806"/>
                  <a:gd name="T29" fmla="*/ 784 h 1632"/>
                  <a:gd name="T30" fmla="*/ 1167 w 1806"/>
                  <a:gd name="T31" fmla="*/ 1145 h 1632"/>
                  <a:gd name="T32" fmla="*/ 1160 w 1806"/>
                  <a:gd name="T33" fmla="*/ 1193 h 1632"/>
                  <a:gd name="T34" fmla="*/ 1123 w 1806"/>
                  <a:gd name="T35" fmla="*/ 1176 h 1632"/>
                  <a:gd name="T36" fmla="*/ 612 w 1806"/>
                  <a:gd name="T37" fmla="*/ 1227 h 1632"/>
                  <a:gd name="T38" fmla="*/ 223 w 1806"/>
                  <a:gd name="T39" fmla="*/ 1285 h 1632"/>
                  <a:gd name="T40" fmla="*/ 26 w 1806"/>
                  <a:gd name="T41" fmla="*/ 1632 h 1632"/>
                  <a:gd name="T42" fmla="*/ 703 w 1806"/>
                  <a:gd name="T43" fmla="*/ 1620 h 1632"/>
                  <a:gd name="T44" fmla="*/ 1801 w 1806"/>
                  <a:gd name="T45" fmla="*/ 1602 h 1632"/>
                  <a:gd name="T46" fmla="*/ 1204 w 1806"/>
                  <a:gd name="T47" fmla="*/ 1219 h 1632"/>
                  <a:gd name="T48" fmla="*/ 1103 w 1806"/>
                  <a:gd name="T49" fmla="*/ 1620 h 1632"/>
                  <a:gd name="T50" fmla="*/ 1780 w 1806"/>
                  <a:gd name="T51" fmla="*/ 1632 h 1632"/>
                  <a:gd name="T52" fmla="*/ 466 w 1806"/>
                  <a:gd name="T53" fmla="*/ 337 h 1632"/>
                  <a:gd name="T54" fmla="*/ 1355 w 1806"/>
                  <a:gd name="T55" fmla="*/ 323 h 1632"/>
                  <a:gd name="T56" fmla="*/ 1355 w 1806"/>
                  <a:gd name="T57" fmla="*/ 198 h 1632"/>
                  <a:gd name="T58" fmla="*/ 1336 w 1806"/>
                  <a:gd name="T59" fmla="*/ 59 h 1632"/>
                  <a:gd name="T60" fmla="*/ 650 w 1806"/>
                  <a:gd name="T61" fmla="*/ 24 h 1632"/>
                  <a:gd name="T62" fmla="*/ 447 w 1806"/>
                  <a:gd name="T63" fmla="*/ 84 h 1632"/>
                  <a:gd name="T64" fmla="*/ 447 w 1806"/>
                  <a:gd name="T65" fmla="*/ 300 h 1632"/>
                  <a:gd name="T66" fmla="*/ 466 w 1806"/>
                  <a:gd name="T67" fmla="*/ 337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6" h="1632">
                    <a:moveTo>
                      <a:pt x="1123" y="1123"/>
                    </a:moveTo>
                    <a:cubicBezTo>
                      <a:pt x="1064" y="1166"/>
                      <a:pt x="968" y="1219"/>
                      <a:pt x="903" y="1219"/>
                    </a:cubicBezTo>
                    <a:cubicBezTo>
                      <a:pt x="838" y="1219"/>
                      <a:pt x="742" y="1166"/>
                      <a:pt x="683" y="1123"/>
                    </a:cubicBezTo>
                    <a:cubicBezTo>
                      <a:pt x="683" y="1176"/>
                      <a:pt x="683" y="1176"/>
                      <a:pt x="683" y="1176"/>
                    </a:cubicBezTo>
                    <a:cubicBezTo>
                      <a:pt x="683" y="1232"/>
                      <a:pt x="683" y="1232"/>
                      <a:pt x="683" y="1232"/>
                    </a:cubicBezTo>
                    <a:cubicBezTo>
                      <a:pt x="660" y="1212"/>
                      <a:pt x="648" y="1195"/>
                      <a:pt x="646" y="1193"/>
                    </a:cubicBezTo>
                    <a:cubicBezTo>
                      <a:pt x="639" y="1183"/>
                      <a:pt x="639" y="1183"/>
                      <a:pt x="639" y="1183"/>
                    </a:cubicBezTo>
                    <a:cubicBezTo>
                      <a:pt x="639" y="1145"/>
                      <a:pt x="639" y="1145"/>
                      <a:pt x="639" y="1145"/>
                    </a:cubicBezTo>
                    <a:cubicBezTo>
                      <a:pt x="639" y="1086"/>
                      <a:pt x="639" y="1086"/>
                      <a:pt x="639" y="1086"/>
                    </a:cubicBezTo>
                    <a:cubicBezTo>
                      <a:pt x="629" y="1073"/>
                      <a:pt x="618" y="1055"/>
                      <a:pt x="606" y="1032"/>
                    </a:cubicBezTo>
                    <a:cubicBezTo>
                      <a:pt x="602" y="1025"/>
                      <a:pt x="598" y="1018"/>
                      <a:pt x="594" y="1010"/>
                    </a:cubicBezTo>
                    <a:cubicBezTo>
                      <a:pt x="554" y="931"/>
                      <a:pt x="511" y="824"/>
                      <a:pt x="495" y="784"/>
                    </a:cubicBezTo>
                    <a:cubicBezTo>
                      <a:pt x="494" y="783"/>
                      <a:pt x="492" y="782"/>
                      <a:pt x="491" y="781"/>
                    </a:cubicBezTo>
                    <a:cubicBezTo>
                      <a:pt x="489" y="779"/>
                      <a:pt x="486" y="778"/>
                      <a:pt x="484" y="776"/>
                    </a:cubicBezTo>
                    <a:cubicBezTo>
                      <a:pt x="444" y="747"/>
                      <a:pt x="431" y="702"/>
                      <a:pt x="426" y="677"/>
                    </a:cubicBezTo>
                    <a:cubicBezTo>
                      <a:pt x="426" y="675"/>
                      <a:pt x="426" y="673"/>
                      <a:pt x="426" y="672"/>
                    </a:cubicBezTo>
                    <a:cubicBezTo>
                      <a:pt x="477" y="696"/>
                      <a:pt x="477" y="696"/>
                      <a:pt x="477" y="696"/>
                    </a:cubicBezTo>
                    <a:cubicBezTo>
                      <a:pt x="484" y="715"/>
                      <a:pt x="498" y="736"/>
                      <a:pt x="523" y="749"/>
                    </a:cubicBezTo>
                    <a:cubicBezTo>
                      <a:pt x="528" y="751"/>
                      <a:pt x="532" y="755"/>
                      <a:pt x="533" y="760"/>
                    </a:cubicBezTo>
                    <a:cubicBezTo>
                      <a:pt x="574" y="864"/>
                      <a:pt x="649" y="1037"/>
                      <a:pt x="677" y="1062"/>
                    </a:cubicBezTo>
                    <a:cubicBezTo>
                      <a:pt x="722" y="1102"/>
                      <a:pt x="838" y="1175"/>
                      <a:pt x="903" y="1175"/>
                    </a:cubicBezTo>
                    <a:cubicBezTo>
                      <a:pt x="968" y="1175"/>
                      <a:pt x="1084" y="1102"/>
                      <a:pt x="1129" y="1062"/>
                    </a:cubicBezTo>
                    <a:cubicBezTo>
                      <a:pt x="1157" y="1037"/>
                      <a:pt x="1232" y="864"/>
                      <a:pt x="1273" y="760"/>
                    </a:cubicBezTo>
                    <a:cubicBezTo>
                      <a:pt x="1274" y="755"/>
                      <a:pt x="1278" y="751"/>
                      <a:pt x="1283" y="749"/>
                    </a:cubicBezTo>
                    <a:cubicBezTo>
                      <a:pt x="1308" y="736"/>
                      <a:pt x="1322" y="715"/>
                      <a:pt x="1329" y="696"/>
                    </a:cubicBezTo>
                    <a:cubicBezTo>
                      <a:pt x="1380" y="671"/>
                      <a:pt x="1380" y="671"/>
                      <a:pt x="1380" y="671"/>
                    </a:cubicBezTo>
                    <a:cubicBezTo>
                      <a:pt x="1380" y="672"/>
                      <a:pt x="1380" y="673"/>
                      <a:pt x="1380" y="674"/>
                    </a:cubicBezTo>
                    <a:cubicBezTo>
                      <a:pt x="1377" y="696"/>
                      <a:pt x="1365" y="745"/>
                      <a:pt x="1321" y="777"/>
                    </a:cubicBezTo>
                    <a:cubicBezTo>
                      <a:pt x="1319" y="778"/>
                      <a:pt x="1316" y="780"/>
                      <a:pt x="1314" y="782"/>
                    </a:cubicBezTo>
                    <a:cubicBezTo>
                      <a:pt x="1313" y="782"/>
                      <a:pt x="1312" y="783"/>
                      <a:pt x="1311" y="784"/>
                    </a:cubicBezTo>
                    <a:cubicBezTo>
                      <a:pt x="1289" y="840"/>
                      <a:pt x="1212" y="1030"/>
                      <a:pt x="1167" y="1086"/>
                    </a:cubicBezTo>
                    <a:cubicBezTo>
                      <a:pt x="1167" y="1145"/>
                      <a:pt x="1167" y="1145"/>
                      <a:pt x="1167" y="1145"/>
                    </a:cubicBezTo>
                    <a:cubicBezTo>
                      <a:pt x="1167" y="1183"/>
                      <a:pt x="1167" y="1183"/>
                      <a:pt x="1167" y="1183"/>
                    </a:cubicBezTo>
                    <a:cubicBezTo>
                      <a:pt x="1160" y="1193"/>
                      <a:pt x="1160" y="1193"/>
                      <a:pt x="1160" y="1193"/>
                    </a:cubicBezTo>
                    <a:cubicBezTo>
                      <a:pt x="1158" y="1195"/>
                      <a:pt x="1146" y="1211"/>
                      <a:pt x="1123" y="1232"/>
                    </a:cubicBezTo>
                    <a:cubicBezTo>
                      <a:pt x="1123" y="1176"/>
                      <a:pt x="1123" y="1176"/>
                      <a:pt x="1123" y="1176"/>
                    </a:cubicBezTo>
                    <a:lnTo>
                      <a:pt x="1123" y="1123"/>
                    </a:lnTo>
                    <a:close/>
                    <a:moveTo>
                      <a:pt x="612" y="1227"/>
                    </a:moveTo>
                    <a:cubicBezTo>
                      <a:pt x="611" y="1222"/>
                      <a:pt x="607" y="1219"/>
                      <a:pt x="602" y="1219"/>
                    </a:cubicBezTo>
                    <a:cubicBezTo>
                      <a:pt x="558" y="1220"/>
                      <a:pt x="344" y="1229"/>
                      <a:pt x="223" y="1285"/>
                    </a:cubicBezTo>
                    <a:cubicBezTo>
                      <a:pt x="113" y="1335"/>
                      <a:pt x="33" y="1528"/>
                      <a:pt x="5" y="1602"/>
                    </a:cubicBezTo>
                    <a:cubicBezTo>
                      <a:pt x="0" y="1617"/>
                      <a:pt x="10" y="1632"/>
                      <a:pt x="26" y="1632"/>
                    </a:cubicBezTo>
                    <a:cubicBezTo>
                      <a:pt x="693" y="1632"/>
                      <a:pt x="693" y="1632"/>
                      <a:pt x="693" y="1632"/>
                    </a:cubicBezTo>
                    <a:cubicBezTo>
                      <a:pt x="700" y="1632"/>
                      <a:pt x="704" y="1626"/>
                      <a:pt x="703" y="1620"/>
                    </a:cubicBezTo>
                    <a:lnTo>
                      <a:pt x="612" y="1227"/>
                    </a:lnTo>
                    <a:close/>
                    <a:moveTo>
                      <a:pt x="1801" y="1602"/>
                    </a:moveTo>
                    <a:cubicBezTo>
                      <a:pt x="1773" y="1528"/>
                      <a:pt x="1693" y="1335"/>
                      <a:pt x="1583" y="1285"/>
                    </a:cubicBezTo>
                    <a:cubicBezTo>
                      <a:pt x="1462" y="1229"/>
                      <a:pt x="1248" y="1220"/>
                      <a:pt x="1204" y="1219"/>
                    </a:cubicBezTo>
                    <a:cubicBezTo>
                      <a:pt x="1199" y="1219"/>
                      <a:pt x="1195" y="1222"/>
                      <a:pt x="1194" y="1227"/>
                    </a:cubicBezTo>
                    <a:cubicBezTo>
                      <a:pt x="1103" y="1620"/>
                      <a:pt x="1103" y="1620"/>
                      <a:pt x="1103" y="1620"/>
                    </a:cubicBezTo>
                    <a:cubicBezTo>
                      <a:pt x="1102" y="1626"/>
                      <a:pt x="1106" y="1632"/>
                      <a:pt x="1113" y="1632"/>
                    </a:cubicBezTo>
                    <a:cubicBezTo>
                      <a:pt x="1780" y="1632"/>
                      <a:pt x="1780" y="1632"/>
                      <a:pt x="1780" y="1632"/>
                    </a:cubicBezTo>
                    <a:cubicBezTo>
                      <a:pt x="1796" y="1632"/>
                      <a:pt x="1806" y="1617"/>
                      <a:pt x="1801" y="1602"/>
                    </a:cubicBezTo>
                    <a:close/>
                    <a:moveTo>
                      <a:pt x="466" y="337"/>
                    </a:moveTo>
                    <a:cubicBezTo>
                      <a:pt x="756" y="266"/>
                      <a:pt x="1046" y="266"/>
                      <a:pt x="1336" y="337"/>
                    </a:cubicBezTo>
                    <a:cubicBezTo>
                      <a:pt x="1346" y="339"/>
                      <a:pt x="1355" y="333"/>
                      <a:pt x="1355" y="323"/>
                    </a:cubicBezTo>
                    <a:cubicBezTo>
                      <a:pt x="1355" y="310"/>
                      <a:pt x="1355" y="297"/>
                      <a:pt x="1355" y="284"/>
                    </a:cubicBezTo>
                    <a:cubicBezTo>
                      <a:pt x="1355" y="256"/>
                      <a:pt x="1355" y="227"/>
                      <a:pt x="1355" y="198"/>
                    </a:cubicBezTo>
                    <a:cubicBezTo>
                      <a:pt x="1355" y="160"/>
                      <a:pt x="1355" y="122"/>
                      <a:pt x="1355" y="84"/>
                    </a:cubicBezTo>
                    <a:cubicBezTo>
                      <a:pt x="1355" y="73"/>
                      <a:pt x="1346" y="62"/>
                      <a:pt x="1336" y="59"/>
                    </a:cubicBezTo>
                    <a:cubicBezTo>
                      <a:pt x="1276" y="45"/>
                      <a:pt x="1217" y="33"/>
                      <a:pt x="1158" y="25"/>
                    </a:cubicBezTo>
                    <a:cubicBezTo>
                      <a:pt x="988" y="0"/>
                      <a:pt x="819" y="0"/>
                      <a:pt x="650" y="24"/>
                    </a:cubicBezTo>
                    <a:cubicBezTo>
                      <a:pt x="588" y="33"/>
                      <a:pt x="527" y="44"/>
                      <a:pt x="466" y="59"/>
                    </a:cubicBezTo>
                    <a:cubicBezTo>
                      <a:pt x="455" y="62"/>
                      <a:pt x="447" y="73"/>
                      <a:pt x="447" y="84"/>
                    </a:cubicBezTo>
                    <a:cubicBezTo>
                      <a:pt x="447" y="122"/>
                      <a:pt x="447" y="160"/>
                      <a:pt x="447" y="198"/>
                    </a:cubicBezTo>
                    <a:cubicBezTo>
                      <a:pt x="447" y="232"/>
                      <a:pt x="447" y="266"/>
                      <a:pt x="447" y="300"/>
                    </a:cubicBezTo>
                    <a:cubicBezTo>
                      <a:pt x="447" y="308"/>
                      <a:pt x="447" y="315"/>
                      <a:pt x="447" y="323"/>
                    </a:cubicBezTo>
                    <a:cubicBezTo>
                      <a:pt x="447" y="333"/>
                      <a:pt x="455" y="339"/>
                      <a:pt x="466" y="337"/>
                    </a:cubicBezTo>
                    <a:close/>
                  </a:path>
                </a:pathLst>
              </a:custGeom>
              <a:solidFill>
                <a:srgbClr val="0F243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Freeform 52">
                <a:extLst>
                  <a:ext uri="{FF2B5EF4-FFF2-40B4-BE49-F238E27FC236}">
                    <a16:creationId xmlns:a16="http://schemas.microsoft.com/office/drawing/2014/main" id="{3450BD59-07EB-4BB4-82B3-F920A4DA59C0}"/>
                  </a:ext>
                </a:extLst>
              </p:cNvPr>
              <p:cNvSpPr>
                <a:spLocks noEditPoints="1"/>
              </p:cNvSpPr>
              <p:nvPr/>
            </p:nvSpPr>
            <p:spPr bwMode="auto">
              <a:xfrm>
                <a:off x="5450917" y="2710225"/>
                <a:ext cx="1289733" cy="1407638"/>
              </a:xfrm>
              <a:custGeom>
                <a:avLst/>
                <a:gdLst>
                  <a:gd name="T0" fmla="*/ 1258 w 1807"/>
                  <a:gd name="T1" fmla="*/ 1517 h 1972"/>
                  <a:gd name="T2" fmla="*/ 1185 w 1807"/>
                  <a:gd name="T3" fmla="*/ 1503 h 1972"/>
                  <a:gd name="T4" fmla="*/ 1190 w 1807"/>
                  <a:gd name="T5" fmla="*/ 1468 h 1972"/>
                  <a:gd name="T6" fmla="*/ 1332 w 1807"/>
                  <a:gd name="T7" fmla="*/ 1197 h 1972"/>
                  <a:gd name="T8" fmla="*/ 514 w 1807"/>
                  <a:gd name="T9" fmla="*/ 1276 h 1972"/>
                  <a:gd name="T10" fmla="*/ 366 w 1807"/>
                  <a:gd name="T11" fmla="*/ 1429 h 1972"/>
                  <a:gd name="T12" fmla="*/ 576 w 1807"/>
                  <a:gd name="T13" fmla="*/ 1516 h 1972"/>
                  <a:gd name="T14" fmla="*/ 629 w 1807"/>
                  <a:gd name="T15" fmla="*/ 1474 h 1972"/>
                  <a:gd name="T16" fmla="*/ 514 w 1807"/>
                  <a:gd name="T17" fmla="*/ 1276 h 1972"/>
                  <a:gd name="T18" fmla="*/ 1294 w 1807"/>
                  <a:gd name="T19" fmla="*/ 1009 h 1972"/>
                  <a:gd name="T20" fmla="*/ 1311 w 1807"/>
                  <a:gd name="T21" fmla="*/ 1007 h 1972"/>
                  <a:gd name="T22" fmla="*/ 1363 w 1807"/>
                  <a:gd name="T23" fmla="*/ 934 h 1972"/>
                  <a:gd name="T24" fmla="*/ 1380 w 1807"/>
                  <a:gd name="T25" fmla="*/ 772 h 1972"/>
                  <a:gd name="T26" fmla="*/ 1347 w 1807"/>
                  <a:gd name="T27" fmla="*/ 719 h 1972"/>
                  <a:gd name="T28" fmla="*/ 904 w 1807"/>
                  <a:gd name="T29" fmla="*/ 659 h 1972"/>
                  <a:gd name="T30" fmla="*/ 649 w 1807"/>
                  <a:gd name="T31" fmla="*/ 679 h 1972"/>
                  <a:gd name="T32" fmla="*/ 1276 w 1807"/>
                  <a:gd name="T33" fmla="*/ 1009 h 1972"/>
                  <a:gd name="T34" fmla="*/ 432 w 1807"/>
                  <a:gd name="T35" fmla="*/ 772 h 1972"/>
                  <a:gd name="T36" fmla="*/ 458 w 1807"/>
                  <a:gd name="T37" fmla="*/ 970 h 1972"/>
                  <a:gd name="T38" fmla="*/ 460 w 1807"/>
                  <a:gd name="T39" fmla="*/ 719 h 1972"/>
                  <a:gd name="T40" fmla="*/ 947 w 1807"/>
                  <a:gd name="T41" fmla="*/ 1756 h 1972"/>
                  <a:gd name="T42" fmla="*/ 1012 w 1807"/>
                  <a:gd name="T43" fmla="*/ 1648 h 1972"/>
                  <a:gd name="T44" fmla="*/ 1006 w 1807"/>
                  <a:gd name="T45" fmla="*/ 1634 h 1972"/>
                  <a:gd name="T46" fmla="*/ 807 w 1807"/>
                  <a:gd name="T47" fmla="*/ 1634 h 1972"/>
                  <a:gd name="T48" fmla="*/ 801 w 1807"/>
                  <a:gd name="T49" fmla="*/ 1648 h 1972"/>
                  <a:gd name="T50" fmla="*/ 866 w 1807"/>
                  <a:gd name="T51" fmla="*/ 1757 h 1972"/>
                  <a:gd name="T52" fmla="*/ 801 w 1807"/>
                  <a:gd name="T53" fmla="*/ 1972 h 1972"/>
                  <a:gd name="T54" fmla="*/ 1016 w 1807"/>
                  <a:gd name="T55" fmla="*/ 1959 h 1972"/>
                  <a:gd name="T56" fmla="*/ 286 w 1807"/>
                  <a:gd name="T57" fmla="*/ 678 h 1972"/>
                  <a:gd name="T58" fmla="*/ 258 w 1807"/>
                  <a:gd name="T59" fmla="*/ 458 h 1972"/>
                  <a:gd name="T60" fmla="*/ 411 w 1807"/>
                  <a:gd name="T61" fmla="*/ 375 h 1972"/>
                  <a:gd name="T62" fmla="*/ 748 w 1807"/>
                  <a:gd name="T63" fmla="*/ 312 h 1972"/>
                  <a:gd name="T64" fmla="*/ 904 w 1807"/>
                  <a:gd name="T65" fmla="*/ 305 h 1972"/>
                  <a:gd name="T66" fmla="*/ 1060 w 1807"/>
                  <a:gd name="T67" fmla="*/ 312 h 1972"/>
                  <a:gd name="T68" fmla="*/ 1396 w 1807"/>
                  <a:gd name="T69" fmla="*/ 375 h 1972"/>
                  <a:gd name="T70" fmla="*/ 1807 w 1807"/>
                  <a:gd name="T71" fmla="*/ 349 h 1972"/>
                  <a:gd name="T72" fmla="*/ 0 w 1807"/>
                  <a:gd name="T73" fmla="*/ 349 h 1972"/>
                  <a:gd name="T74" fmla="*/ 214 w 1807"/>
                  <a:gd name="T75" fmla="*/ 450 h 1972"/>
                  <a:gd name="T76" fmla="*/ 187 w 1807"/>
                  <a:gd name="T77" fmla="*/ 678 h 1972"/>
                  <a:gd name="T78" fmla="*/ 171 w 1807"/>
                  <a:gd name="T79" fmla="*/ 856 h 1972"/>
                  <a:gd name="T80" fmla="*/ 271 w 1807"/>
                  <a:gd name="T81" fmla="*/ 856 h 1972"/>
                  <a:gd name="T82" fmla="*/ 263 w 1807"/>
                  <a:gd name="T83" fmla="*/ 720 h 1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7" h="1972">
                    <a:moveTo>
                      <a:pt x="1446" y="1429"/>
                    </a:moveTo>
                    <a:cubicBezTo>
                      <a:pt x="1374" y="1500"/>
                      <a:pt x="1306" y="1517"/>
                      <a:pt x="1258" y="1517"/>
                    </a:cubicBezTo>
                    <a:cubicBezTo>
                      <a:pt x="1251" y="1517"/>
                      <a:pt x="1244" y="1517"/>
                      <a:pt x="1238" y="1516"/>
                    </a:cubicBezTo>
                    <a:cubicBezTo>
                      <a:pt x="1205" y="1513"/>
                      <a:pt x="1185" y="1503"/>
                      <a:pt x="1185" y="1503"/>
                    </a:cubicBezTo>
                    <a:cubicBezTo>
                      <a:pt x="1185" y="1472"/>
                      <a:pt x="1185" y="1472"/>
                      <a:pt x="1185" y="1472"/>
                    </a:cubicBezTo>
                    <a:cubicBezTo>
                      <a:pt x="1187" y="1471"/>
                      <a:pt x="1189" y="1469"/>
                      <a:pt x="1190" y="1468"/>
                    </a:cubicBezTo>
                    <a:cubicBezTo>
                      <a:pt x="1209" y="1451"/>
                      <a:pt x="1236" y="1416"/>
                      <a:pt x="1298" y="1276"/>
                    </a:cubicBezTo>
                    <a:cubicBezTo>
                      <a:pt x="1310" y="1247"/>
                      <a:pt x="1322" y="1220"/>
                      <a:pt x="1332" y="1197"/>
                    </a:cubicBezTo>
                    <a:cubicBezTo>
                      <a:pt x="1336" y="1287"/>
                      <a:pt x="1349" y="1419"/>
                      <a:pt x="1446" y="1429"/>
                    </a:cubicBezTo>
                    <a:close/>
                    <a:moveTo>
                      <a:pt x="514" y="1276"/>
                    </a:moveTo>
                    <a:cubicBezTo>
                      <a:pt x="501" y="1246"/>
                      <a:pt x="489" y="1218"/>
                      <a:pt x="480" y="1195"/>
                    </a:cubicBezTo>
                    <a:cubicBezTo>
                      <a:pt x="475" y="1285"/>
                      <a:pt x="464" y="1419"/>
                      <a:pt x="366" y="1429"/>
                    </a:cubicBezTo>
                    <a:cubicBezTo>
                      <a:pt x="438" y="1500"/>
                      <a:pt x="506" y="1517"/>
                      <a:pt x="554" y="1517"/>
                    </a:cubicBezTo>
                    <a:cubicBezTo>
                      <a:pt x="562" y="1517"/>
                      <a:pt x="569" y="1516"/>
                      <a:pt x="576" y="1516"/>
                    </a:cubicBezTo>
                    <a:cubicBezTo>
                      <a:pt x="609" y="1513"/>
                      <a:pt x="628" y="1503"/>
                      <a:pt x="628" y="1503"/>
                    </a:cubicBezTo>
                    <a:cubicBezTo>
                      <a:pt x="629" y="1474"/>
                      <a:pt x="629" y="1474"/>
                      <a:pt x="629" y="1474"/>
                    </a:cubicBezTo>
                    <a:cubicBezTo>
                      <a:pt x="626" y="1472"/>
                      <a:pt x="624" y="1470"/>
                      <a:pt x="622" y="1468"/>
                    </a:cubicBezTo>
                    <a:cubicBezTo>
                      <a:pt x="603" y="1451"/>
                      <a:pt x="576" y="1416"/>
                      <a:pt x="514" y="1276"/>
                    </a:cubicBezTo>
                    <a:close/>
                    <a:moveTo>
                      <a:pt x="1276" y="1009"/>
                    </a:moveTo>
                    <a:cubicBezTo>
                      <a:pt x="1294" y="1009"/>
                      <a:pt x="1294" y="1009"/>
                      <a:pt x="1294" y="1009"/>
                    </a:cubicBezTo>
                    <a:cubicBezTo>
                      <a:pt x="1306" y="1009"/>
                      <a:pt x="1306" y="1009"/>
                      <a:pt x="1306" y="1009"/>
                    </a:cubicBezTo>
                    <a:cubicBezTo>
                      <a:pt x="1308" y="1009"/>
                      <a:pt x="1310" y="1008"/>
                      <a:pt x="1311" y="1007"/>
                    </a:cubicBezTo>
                    <a:cubicBezTo>
                      <a:pt x="1318" y="999"/>
                      <a:pt x="1325" y="991"/>
                      <a:pt x="1330" y="984"/>
                    </a:cubicBezTo>
                    <a:cubicBezTo>
                      <a:pt x="1356" y="951"/>
                      <a:pt x="1362" y="935"/>
                      <a:pt x="1363" y="934"/>
                    </a:cubicBezTo>
                    <a:cubicBezTo>
                      <a:pt x="1363" y="934"/>
                      <a:pt x="1363" y="935"/>
                      <a:pt x="1363" y="935"/>
                    </a:cubicBezTo>
                    <a:cubicBezTo>
                      <a:pt x="1381" y="884"/>
                      <a:pt x="1380" y="829"/>
                      <a:pt x="1380" y="772"/>
                    </a:cubicBezTo>
                    <a:cubicBezTo>
                      <a:pt x="1380" y="757"/>
                      <a:pt x="1379" y="742"/>
                      <a:pt x="1378" y="727"/>
                    </a:cubicBezTo>
                    <a:cubicBezTo>
                      <a:pt x="1347" y="719"/>
                      <a:pt x="1347" y="719"/>
                      <a:pt x="1347" y="719"/>
                    </a:cubicBezTo>
                    <a:cubicBezTo>
                      <a:pt x="1251" y="693"/>
                      <a:pt x="1152" y="675"/>
                      <a:pt x="1053" y="666"/>
                    </a:cubicBezTo>
                    <a:cubicBezTo>
                      <a:pt x="1003" y="661"/>
                      <a:pt x="953" y="659"/>
                      <a:pt x="904" y="659"/>
                    </a:cubicBezTo>
                    <a:cubicBezTo>
                      <a:pt x="854" y="659"/>
                      <a:pt x="804" y="661"/>
                      <a:pt x="755" y="666"/>
                    </a:cubicBezTo>
                    <a:cubicBezTo>
                      <a:pt x="719" y="669"/>
                      <a:pt x="684" y="673"/>
                      <a:pt x="649" y="679"/>
                    </a:cubicBezTo>
                    <a:cubicBezTo>
                      <a:pt x="1273" y="1008"/>
                      <a:pt x="1273" y="1008"/>
                      <a:pt x="1273" y="1008"/>
                    </a:cubicBezTo>
                    <a:cubicBezTo>
                      <a:pt x="1274" y="1009"/>
                      <a:pt x="1275" y="1009"/>
                      <a:pt x="1276" y="1009"/>
                    </a:cubicBezTo>
                    <a:close/>
                    <a:moveTo>
                      <a:pt x="434" y="726"/>
                    </a:moveTo>
                    <a:cubicBezTo>
                      <a:pt x="433" y="741"/>
                      <a:pt x="432" y="756"/>
                      <a:pt x="432" y="772"/>
                    </a:cubicBezTo>
                    <a:cubicBezTo>
                      <a:pt x="432" y="831"/>
                      <a:pt x="439" y="917"/>
                      <a:pt x="458" y="969"/>
                    </a:cubicBezTo>
                    <a:cubicBezTo>
                      <a:pt x="458" y="969"/>
                      <a:pt x="458" y="969"/>
                      <a:pt x="458" y="970"/>
                    </a:cubicBezTo>
                    <a:cubicBezTo>
                      <a:pt x="504" y="1010"/>
                      <a:pt x="504" y="735"/>
                      <a:pt x="635" y="681"/>
                    </a:cubicBezTo>
                    <a:cubicBezTo>
                      <a:pt x="576" y="690"/>
                      <a:pt x="518" y="703"/>
                      <a:pt x="460" y="719"/>
                    </a:cubicBezTo>
                    <a:lnTo>
                      <a:pt x="434" y="726"/>
                    </a:lnTo>
                    <a:close/>
                    <a:moveTo>
                      <a:pt x="947" y="1756"/>
                    </a:moveTo>
                    <a:cubicBezTo>
                      <a:pt x="946" y="1753"/>
                      <a:pt x="947" y="1751"/>
                      <a:pt x="948" y="1748"/>
                    </a:cubicBezTo>
                    <a:cubicBezTo>
                      <a:pt x="1012" y="1648"/>
                      <a:pt x="1012" y="1648"/>
                      <a:pt x="1012" y="1648"/>
                    </a:cubicBezTo>
                    <a:cubicBezTo>
                      <a:pt x="1014" y="1644"/>
                      <a:pt x="1013" y="1640"/>
                      <a:pt x="1011" y="1637"/>
                    </a:cubicBezTo>
                    <a:cubicBezTo>
                      <a:pt x="1010" y="1636"/>
                      <a:pt x="1008" y="1634"/>
                      <a:pt x="1006" y="1634"/>
                    </a:cubicBezTo>
                    <a:cubicBezTo>
                      <a:pt x="985" y="1629"/>
                      <a:pt x="943" y="1620"/>
                      <a:pt x="909" y="1620"/>
                    </a:cubicBezTo>
                    <a:cubicBezTo>
                      <a:pt x="875" y="1620"/>
                      <a:pt x="829" y="1629"/>
                      <a:pt x="807" y="1634"/>
                    </a:cubicBezTo>
                    <a:cubicBezTo>
                      <a:pt x="804" y="1634"/>
                      <a:pt x="803" y="1636"/>
                      <a:pt x="801" y="1638"/>
                    </a:cubicBezTo>
                    <a:cubicBezTo>
                      <a:pt x="799" y="1640"/>
                      <a:pt x="799" y="1645"/>
                      <a:pt x="801" y="1648"/>
                    </a:cubicBezTo>
                    <a:cubicBezTo>
                      <a:pt x="865" y="1749"/>
                      <a:pt x="865" y="1749"/>
                      <a:pt x="865" y="1749"/>
                    </a:cubicBezTo>
                    <a:cubicBezTo>
                      <a:pt x="866" y="1751"/>
                      <a:pt x="867" y="1754"/>
                      <a:pt x="866" y="1757"/>
                    </a:cubicBezTo>
                    <a:cubicBezTo>
                      <a:pt x="791" y="1959"/>
                      <a:pt x="791" y="1959"/>
                      <a:pt x="791" y="1959"/>
                    </a:cubicBezTo>
                    <a:cubicBezTo>
                      <a:pt x="789" y="1965"/>
                      <a:pt x="794" y="1972"/>
                      <a:pt x="801" y="1972"/>
                    </a:cubicBezTo>
                    <a:cubicBezTo>
                      <a:pt x="1007" y="1972"/>
                      <a:pt x="1007" y="1972"/>
                      <a:pt x="1007" y="1972"/>
                    </a:cubicBezTo>
                    <a:cubicBezTo>
                      <a:pt x="1014" y="1972"/>
                      <a:pt x="1018" y="1965"/>
                      <a:pt x="1016" y="1959"/>
                    </a:cubicBezTo>
                    <a:lnTo>
                      <a:pt x="947" y="1756"/>
                    </a:lnTo>
                    <a:close/>
                    <a:moveTo>
                      <a:pt x="286" y="678"/>
                    </a:moveTo>
                    <a:cubicBezTo>
                      <a:pt x="286" y="658"/>
                      <a:pt x="275" y="642"/>
                      <a:pt x="258" y="634"/>
                    </a:cubicBezTo>
                    <a:cubicBezTo>
                      <a:pt x="258" y="458"/>
                      <a:pt x="258" y="458"/>
                      <a:pt x="258" y="458"/>
                    </a:cubicBezTo>
                    <a:cubicBezTo>
                      <a:pt x="411" y="522"/>
                      <a:pt x="411" y="522"/>
                      <a:pt x="411" y="522"/>
                    </a:cubicBezTo>
                    <a:cubicBezTo>
                      <a:pt x="411" y="375"/>
                      <a:pt x="411" y="375"/>
                      <a:pt x="411" y="375"/>
                    </a:cubicBezTo>
                    <a:cubicBezTo>
                      <a:pt x="440" y="367"/>
                      <a:pt x="440" y="367"/>
                      <a:pt x="440" y="367"/>
                    </a:cubicBezTo>
                    <a:cubicBezTo>
                      <a:pt x="540" y="340"/>
                      <a:pt x="644" y="321"/>
                      <a:pt x="748" y="312"/>
                    </a:cubicBezTo>
                    <a:cubicBezTo>
                      <a:pt x="756" y="311"/>
                      <a:pt x="764" y="311"/>
                      <a:pt x="773" y="310"/>
                    </a:cubicBezTo>
                    <a:cubicBezTo>
                      <a:pt x="816" y="307"/>
                      <a:pt x="860" y="305"/>
                      <a:pt x="904" y="305"/>
                    </a:cubicBezTo>
                    <a:cubicBezTo>
                      <a:pt x="949" y="305"/>
                      <a:pt x="995" y="307"/>
                      <a:pt x="1041" y="311"/>
                    </a:cubicBezTo>
                    <a:cubicBezTo>
                      <a:pt x="1047" y="311"/>
                      <a:pt x="1053" y="311"/>
                      <a:pt x="1060" y="312"/>
                    </a:cubicBezTo>
                    <a:cubicBezTo>
                      <a:pt x="1163" y="321"/>
                      <a:pt x="1267" y="340"/>
                      <a:pt x="1368" y="367"/>
                    </a:cubicBezTo>
                    <a:cubicBezTo>
                      <a:pt x="1396" y="375"/>
                      <a:pt x="1396" y="375"/>
                      <a:pt x="1396" y="375"/>
                    </a:cubicBezTo>
                    <a:cubicBezTo>
                      <a:pt x="1396" y="522"/>
                      <a:pt x="1396" y="522"/>
                      <a:pt x="1396" y="522"/>
                    </a:cubicBezTo>
                    <a:cubicBezTo>
                      <a:pt x="1807" y="349"/>
                      <a:pt x="1807" y="349"/>
                      <a:pt x="1807" y="349"/>
                    </a:cubicBezTo>
                    <a:cubicBezTo>
                      <a:pt x="907" y="0"/>
                      <a:pt x="907" y="0"/>
                      <a:pt x="907" y="0"/>
                    </a:cubicBezTo>
                    <a:cubicBezTo>
                      <a:pt x="0" y="349"/>
                      <a:pt x="0" y="349"/>
                      <a:pt x="0" y="349"/>
                    </a:cubicBezTo>
                    <a:cubicBezTo>
                      <a:pt x="217" y="440"/>
                      <a:pt x="217" y="440"/>
                      <a:pt x="217" y="440"/>
                    </a:cubicBezTo>
                    <a:cubicBezTo>
                      <a:pt x="215" y="443"/>
                      <a:pt x="214" y="446"/>
                      <a:pt x="214" y="450"/>
                    </a:cubicBezTo>
                    <a:cubicBezTo>
                      <a:pt x="214" y="634"/>
                      <a:pt x="214" y="634"/>
                      <a:pt x="214" y="634"/>
                    </a:cubicBezTo>
                    <a:cubicBezTo>
                      <a:pt x="198" y="642"/>
                      <a:pt x="187" y="658"/>
                      <a:pt x="187" y="678"/>
                    </a:cubicBezTo>
                    <a:cubicBezTo>
                      <a:pt x="187" y="695"/>
                      <a:pt x="196" y="711"/>
                      <a:pt x="209" y="720"/>
                    </a:cubicBezTo>
                    <a:cubicBezTo>
                      <a:pt x="171" y="856"/>
                      <a:pt x="171" y="856"/>
                      <a:pt x="171" y="856"/>
                    </a:cubicBezTo>
                    <a:cubicBezTo>
                      <a:pt x="202" y="856"/>
                      <a:pt x="202" y="856"/>
                      <a:pt x="202" y="856"/>
                    </a:cubicBezTo>
                    <a:cubicBezTo>
                      <a:pt x="271" y="856"/>
                      <a:pt x="271" y="856"/>
                      <a:pt x="271" y="856"/>
                    </a:cubicBezTo>
                    <a:cubicBezTo>
                      <a:pt x="302" y="856"/>
                      <a:pt x="302" y="856"/>
                      <a:pt x="302" y="856"/>
                    </a:cubicBezTo>
                    <a:cubicBezTo>
                      <a:pt x="263" y="720"/>
                      <a:pt x="263" y="720"/>
                      <a:pt x="263" y="720"/>
                    </a:cubicBezTo>
                    <a:cubicBezTo>
                      <a:pt x="277" y="711"/>
                      <a:pt x="286" y="695"/>
                      <a:pt x="286" y="678"/>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0" name="Group 19">
            <a:extLst>
              <a:ext uri="{FF2B5EF4-FFF2-40B4-BE49-F238E27FC236}">
                <a16:creationId xmlns:a16="http://schemas.microsoft.com/office/drawing/2014/main" id="{100ED3E7-71A2-4CCC-9368-DFBB7EB5D598}"/>
              </a:ext>
            </a:extLst>
          </p:cNvPr>
          <p:cNvGrpSpPr>
            <a:grpSpLocks noChangeAspect="1"/>
          </p:cNvGrpSpPr>
          <p:nvPr/>
        </p:nvGrpSpPr>
        <p:grpSpPr>
          <a:xfrm>
            <a:off x="400051" y="2921569"/>
            <a:ext cx="900725" cy="901594"/>
            <a:chOff x="5273675" y="2605088"/>
            <a:chExt cx="1644650" cy="1646237"/>
          </a:xfrm>
        </p:grpSpPr>
        <p:sp>
          <p:nvSpPr>
            <p:cNvPr id="21" name="AutoShape 3">
              <a:extLst>
                <a:ext uri="{FF2B5EF4-FFF2-40B4-BE49-F238E27FC236}">
                  <a16:creationId xmlns:a16="http://schemas.microsoft.com/office/drawing/2014/main" id="{9B748A64-A41C-451D-B5B8-3A13524E6DFE}"/>
                </a:ext>
              </a:extLst>
            </p:cNvPr>
            <p:cNvSpPr>
              <a:spLocks noChangeAspect="1" noChangeArrowheads="1" noTextEdit="1"/>
            </p:cNvSpPr>
            <p:nvPr/>
          </p:nvSpPr>
          <p:spPr bwMode="auto">
            <a:xfrm>
              <a:off x="5273675" y="2605088"/>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2" name="Group 21">
              <a:extLst>
                <a:ext uri="{FF2B5EF4-FFF2-40B4-BE49-F238E27FC236}">
                  <a16:creationId xmlns:a16="http://schemas.microsoft.com/office/drawing/2014/main" id="{BEF3A4AA-ED07-4FFD-9AEA-D71E15BB304B}"/>
                </a:ext>
              </a:extLst>
            </p:cNvPr>
            <p:cNvGrpSpPr/>
            <p:nvPr/>
          </p:nvGrpSpPr>
          <p:grpSpPr>
            <a:xfrm>
              <a:off x="5497179" y="2775744"/>
              <a:ext cx="1197643" cy="1304925"/>
              <a:chOff x="5497974" y="2774950"/>
              <a:chExt cx="1197643" cy="1304925"/>
            </a:xfrm>
          </p:grpSpPr>
          <p:sp>
            <p:nvSpPr>
              <p:cNvPr id="23" name="Freeform 5">
                <a:extLst>
                  <a:ext uri="{FF2B5EF4-FFF2-40B4-BE49-F238E27FC236}">
                    <a16:creationId xmlns:a16="http://schemas.microsoft.com/office/drawing/2014/main" id="{D7C9301A-7009-4A79-AD8A-8DFC154D6AF4}"/>
                  </a:ext>
                </a:extLst>
              </p:cNvPr>
              <p:cNvSpPr>
                <a:spLocks/>
              </p:cNvSpPr>
              <p:nvPr/>
            </p:nvSpPr>
            <p:spPr bwMode="auto">
              <a:xfrm>
                <a:off x="5780088" y="2838450"/>
                <a:ext cx="633413" cy="246062"/>
              </a:xfrm>
              <a:custGeom>
                <a:avLst/>
                <a:gdLst>
                  <a:gd name="connsiteX0" fmla="*/ 368300 w 633413"/>
                  <a:gd name="connsiteY0" fmla="*/ 0 h 246062"/>
                  <a:gd name="connsiteX1" fmla="*/ 595540 w 633413"/>
                  <a:gd name="connsiteY1" fmla="*/ 0 h 246062"/>
                  <a:gd name="connsiteX2" fmla="*/ 595540 w 633413"/>
                  <a:gd name="connsiteY2" fmla="*/ 718 h 246062"/>
                  <a:gd name="connsiteX3" fmla="*/ 594111 w 633413"/>
                  <a:gd name="connsiteY3" fmla="*/ 10043 h 246062"/>
                  <a:gd name="connsiteX4" fmla="*/ 622694 w 633413"/>
                  <a:gd name="connsiteY4" fmla="*/ 39456 h 246062"/>
                  <a:gd name="connsiteX5" fmla="*/ 631984 w 633413"/>
                  <a:gd name="connsiteY5" fmla="*/ 37304 h 246062"/>
                  <a:gd name="connsiteX6" fmla="*/ 633413 w 633413"/>
                  <a:gd name="connsiteY6" fmla="*/ 38021 h 246062"/>
                  <a:gd name="connsiteX7" fmla="*/ 633413 w 633413"/>
                  <a:gd name="connsiteY7" fmla="*/ 209476 h 246062"/>
                  <a:gd name="connsiteX8" fmla="*/ 631984 w 633413"/>
                  <a:gd name="connsiteY8" fmla="*/ 210910 h 246062"/>
                  <a:gd name="connsiteX9" fmla="*/ 622694 w 633413"/>
                  <a:gd name="connsiteY9" fmla="*/ 208758 h 246062"/>
                  <a:gd name="connsiteX10" fmla="*/ 594111 w 633413"/>
                  <a:gd name="connsiteY10" fmla="*/ 237454 h 246062"/>
                  <a:gd name="connsiteX11" fmla="*/ 594825 w 633413"/>
                  <a:gd name="connsiteY11" fmla="*/ 245345 h 246062"/>
                  <a:gd name="connsiteX12" fmla="*/ 594825 w 633413"/>
                  <a:gd name="connsiteY12" fmla="*/ 246062 h 246062"/>
                  <a:gd name="connsiteX13" fmla="*/ 368300 w 633413"/>
                  <a:gd name="connsiteY13" fmla="*/ 246062 h 246062"/>
                  <a:gd name="connsiteX14" fmla="*/ 369015 w 633413"/>
                  <a:gd name="connsiteY14" fmla="*/ 244627 h 246062"/>
                  <a:gd name="connsiteX15" fmla="*/ 426182 w 633413"/>
                  <a:gd name="connsiteY15" fmla="*/ 123390 h 246062"/>
                  <a:gd name="connsiteX16" fmla="*/ 369015 w 633413"/>
                  <a:gd name="connsiteY16" fmla="*/ 1435 h 246062"/>
                  <a:gd name="connsiteX17" fmla="*/ 368300 w 633413"/>
                  <a:gd name="connsiteY17" fmla="*/ 0 h 246062"/>
                  <a:gd name="connsiteX18" fmla="*/ 38611 w 633413"/>
                  <a:gd name="connsiteY18" fmla="*/ 0 h 246062"/>
                  <a:gd name="connsiteX19" fmla="*/ 265985 w 633413"/>
                  <a:gd name="connsiteY19" fmla="*/ 0 h 246062"/>
                  <a:gd name="connsiteX20" fmla="*/ 265270 w 633413"/>
                  <a:gd name="connsiteY20" fmla="*/ 1435 h 246062"/>
                  <a:gd name="connsiteX21" fmla="*/ 208069 w 633413"/>
                  <a:gd name="connsiteY21" fmla="*/ 123390 h 246062"/>
                  <a:gd name="connsiteX22" fmla="*/ 265270 w 633413"/>
                  <a:gd name="connsiteY22" fmla="*/ 244627 h 246062"/>
                  <a:gd name="connsiteX23" fmla="*/ 265985 w 633413"/>
                  <a:gd name="connsiteY23" fmla="*/ 246062 h 246062"/>
                  <a:gd name="connsiteX24" fmla="*/ 38611 w 633413"/>
                  <a:gd name="connsiteY24" fmla="*/ 246062 h 246062"/>
                  <a:gd name="connsiteX25" fmla="*/ 38611 w 633413"/>
                  <a:gd name="connsiteY25" fmla="*/ 245345 h 246062"/>
                  <a:gd name="connsiteX26" fmla="*/ 40041 w 633413"/>
                  <a:gd name="connsiteY26" fmla="*/ 237454 h 246062"/>
                  <a:gd name="connsiteX27" fmla="*/ 10725 w 633413"/>
                  <a:gd name="connsiteY27" fmla="*/ 208758 h 246062"/>
                  <a:gd name="connsiteX28" fmla="*/ 2145 w 633413"/>
                  <a:gd name="connsiteY28" fmla="*/ 210193 h 246062"/>
                  <a:gd name="connsiteX29" fmla="*/ 0 w 633413"/>
                  <a:gd name="connsiteY29" fmla="*/ 209476 h 246062"/>
                  <a:gd name="connsiteX30" fmla="*/ 0 w 633413"/>
                  <a:gd name="connsiteY30" fmla="*/ 38739 h 246062"/>
                  <a:gd name="connsiteX31" fmla="*/ 2145 w 633413"/>
                  <a:gd name="connsiteY31" fmla="*/ 37304 h 246062"/>
                  <a:gd name="connsiteX32" fmla="*/ 10725 w 633413"/>
                  <a:gd name="connsiteY32" fmla="*/ 39456 h 246062"/>
                  <a:gd name="connsiteX33" fmla="*/ 40041 w 633413"/>
                  <a:gd name="connsiteY33" fmla="*/ 10043 h 246062"/>
                  <a:gd name="connsiteX34" fmla="*/ 38611 w 633413"/>
                  <a:gd name="connsiteY34" fmla="*/ 718 h 246062"/>
                  <a:gd name="connsiteX35" fmla="*/ 38611 w 633413"/>
                  <a:gd name="connsiteY35" fmla="*/ 0 h 24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3413" h="246062">
                    <a:moveTo>
                      <a:pt x="368300" y="0"/>
                    </a:moveTo>
                    <a:cubicBezTo>
                      <a:pt x="368300" y="0"/>
                      <a:pt x="368300" y="0"/>
                      <a:pt x="595540" y="0"/>
                    </a:cubicBezTo>
                    <a:cubicBezTo>
                      <a:pt x="595540" y="0"/>
                      <a:pt x="595540" y="0"/>
                      <a:pt x="595540" y="718"/>
                    </a:cubicBezTo>
                    <a:cubicBezTo>
                      <a:pt x="594825" y="3587"/>
                      <a:pt x="594111" y="7174"/>
                      <a:pt x="594111" y="10043"/>
                    </a:cubicBezTo>
                    <a:cubicBezTo>
                      <a:pt x="594111" y="25826"/>
                      <a:pt x="606973" y="39456"/>
                      <a:pt x="622694" y="39456"/>
                    </a:cubicBezTo>
                    <a:cubicBezTo>
                      <a:pt x="625553" y="39456"/>
                      <a:pt x="629126" y="38021"/>
                      <a:pt x="631984" y="37304"/>
                    </a:cubicBezTo>
                    <a:cubicBezTo>
                      <a:pt x="632699" y="37304"/>
                      <a:pt x="633413" y="37304"/>
                      <a:pt x="633413" y="38021"/>
                    </a:cubicBezTo>
                    <a:cubicBezTo>
                      <a:pt x="633413" y="38021"/>
                      <a:pt x="633413" y="38021"/>
                      <a:pt x="633413" y="209476"/>
                    </a:cubicBezTo>
                    <a:cubicBezTo>
                      <a:pt x="633413" y="210193"/>
                      <a:pt x="632699" y="210910"/>
                      <a:pt x="631984" y="210910"/>
                    </a:cubicBezTo>
                    <a:cubicBezTo>
                      <a:pt x="629126" y="209476"/>
                      <a:pt x="625553" y="208758"/>
                      <a:pt x="622694" y="208758"/>
                    </a:cubicBezTo>
                    <a:cubicBezTo>
                      <a:pt x="606973" y="208758"/>
                      <a:pt x="594111" y="221671"/>
                      <a:pt x="594111" y="237454"/>
                    </a:cubicBezTo>
                    <a:cubicBezTo>
                      <a:pt x="594111" y="240323"/>
                      <a:pt x="594111" y="242475"/>
                      <a:pt x="594825" y="245345"/>
                    </a:cubicBezTo>
                    <a:cubicBezTo>
                      <a:pt x="594825" y="245345"/>
                      <a:pt x="594825" y="245345"/>
                      <a:pt x="594825" y="246062"/>
                    </a:cubicBezTo>
                    <a:cubicBezTo>
                      <a:pt x="594825" y="246062"/>
                      <a:pt x="594825" y="246062"/>
                      <a:pt x="368300" y="246062"/>
                    </a:cubicBezTo>
                    <a:cubicBezTo>
                      <a:pt x="368300" y="245345"/>
                      <a:pt x="368300" y="245345"/>
                      <a:pt x="369015" y="244627"/>
                    </a:cubicBezTo>
                    <a:cubicBezTo>
                      <a:pt x="398313" y="223823"/>
                      <a:pt x="426182" y="176476"/>
                      <a:pt x="426182" y="123390"/>
                    </a:cubicBezTo>
                    <a:cubicBezTo>
                      <a:pt x="426182" y="69586"/>
                      <a:pt x="398313" y="22956"/>
                      <a:pt x="369015" y="1435"/>
                    </a:cubicBezTo>
                    <a:cubicBezTo>
                      <a:pt x="368300" y="718"/>
                      <a:pt x="368300" y="718"/>
                      <a:pt x="368300" y="0"/>
                    </a:cubicBezTo>
                    <a:close/>
                    <a:moveTo>
                      <a:pt x="38611" y="0"/>
                    </a:moveTo>
                    <a:cubicBezTo>
                      <a:pt x="38611" y="0"/>
                      <a:pt x="38611" y="0"/>
                      <a:pt x="265985" y="0"/>
                    </a:cubicBezTo>
                    <a:cubicBezTo>
                      <a:pt x="266700" y="718"/>
                      <a:pt x="265985" y="718"/>
                      <a:pt x="265270" y="1435"/>
                    </a:cubicBezTo>
                    <a:cubicBezTo>
                      <a:pt x="236670" y="22956"/>
                      <a:pt x="208069" y="69586"/>
                      <a:pt x="208069" y="123390"/>
                    </a:cubicBezTo>
                    <a:cubicBezTo>
                      <a:pt x="208069" y="176476"/>
                      <a:pt x="236670" y="223823"/>
                      <a:pt x="265270" y="244627"/>
                    </a:cubicBezTo>
                    <a:cubicBezTo>
                      <a:pt x="265985" y="245345"/>
                      <a:pt x="266700" y="245345"/>
                      <a:pt x="265985" y="246062"/>
                    </a:cubicBezTo>
                    <a:cubicBezTo>
                      <a:pt x="265985" y="246062"/>
                      <a:pt x="265985" y="246062"/>
                      <a:pt x="38611" y="246062"/>
                    </a:cubicBezTo>
                    <a:cubicBezTo>
                      <a:pt x="38611" y="246062"/>
                      <a:pt x="38611" y="246062"/>
                      <a:pt x="38611" y="245345"/>
                    </a:cubicBezTo>
                    <a:cubicBezTo>
                      <a:pt x="39326" y="242475"/>
                      <a:pt x="40041" y="240323"/>
                      <a:pt x="40041" y="237454"/>
                    </a:cubicBezTo>
                    <a:cubicBezTo>
                      <a:pt x="40041" y="221671"/>
                      <a:pt x="26456" y="208758"/>
                      <a:pt x="10725" y="208758"/>
                    </a:cubicBezTo>
                    <a:cubicBezTo>
                      <a:pt x="7865" y="208758"/>
                      <a:pt x="4290" y="209476"/>
                      <a:pt x="2145" y="210193"/>
                    </a:cubicBezTo>
                    <a:cubicBezTo>
                      <a:pt x="715" y="210910"/>
                      <a:pt x="0" y="210193"/>
                      <a:pt x="0" y="209476"/>
                    </a:cubicBezTo>
                    <a:cubicBezTo>
                      <a:pt x="0" y="209476"/>
                      <a:pt x="0" y="209476"/>
                      <a:pt x="0" y="38739"/>
                    </a:cubicBezTo>
                    <a:cubicBezTo>
                      <a:pt x="0" y="37304"/>
                      <a:pt x="715" y="37304"/>
                      <a:pt x="2145" y="37304"/>
                    </a:cubicBezTo>
                    <a:cubicBezTo>
                      <a:pt x="4290" y="38021"/>
                      <a:pt x="7865" y="39456"/>
                      <a:pt x="10725" y="39456"/>
                    </a:cubicBezTo>
                    <a:cubicBezTo>
                      <a:pt x="26456" y="39456"/>
                      <a:pt x="40041" y="25826"/>
                      <a:pt x="40041" y="10043"/>
                    </a:cubicBezTo>
                    <a:cubicBezTo>
                      <a:pt x="40041" y="7174"/>
                      <a:pt x="39326" y="3587"/>
                      <a:pt x="38611" y="718"/>
                    </a:cubicBezTo>
                    <a:cubicBezTo>
                      <a:pt x="38611" y="718"/>
                      <a:pt x="38611" y="718"/>
                      <a:pt x="38611"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4" name="Freeform 6">
                <a:extLst>
                  <a:ext uri="{FF2B5EF4-FFF2-40B4-BE49-F238E27FC236}">
                    <a16:creationId xmlns:a16="http://schemas.microsoft.com/office/drawing/2014/main" id="{870B1AB8-9F28-4CE3-9786-069366457653}"/>
                  </a:ext>
                </a:extLst>
              </p:cNvPr>
              <p:cNvSpPr>
                <a:spLocks/>
              </p:cNvSpPr>
              <p:nvPr/>
            </p:nvSpPr>
            <p:spPr bwMode="auto">
              <a:xfrm>
                <a:off x="5497974" y="2774950"/>
                <a:ext cx="1197643" cy="1304925"/>
              </a:xfrm>
              <a:custGeom>
                <a:avLst/>
                <a:gdLst>
                  <a:gd name="connsiteX0" fmla="*/ 1077708 w 1197643"/>
                  <a:gd name="connsiteY0" fmla="*/ 315913 h 1304925"/>
                  <a:gd name="connsiteX1" fmla="*/ 1066261 w 1197643"/>
                  <a:gd name="connsiteY1" fmla="*/ 318056 h 1304925"/>
                  <a:gd name="connsiteX2" fmla="*/ 1044083 w 1197643"/>
                  <a:gd name="connsiteY2" fmla="*/ 337344 h 1304925"/>
                  <a:gd name="connsiteX3" fmla="*/ 1041936 w 1197643"/>
                  <a:gd name="connsiteY3" fmla="*/ 366634 h 1304925"/>
                  <a:gd name="connsiteX4" fmla="*/ 1065545 w 1197643"/>
                  <a:gd name="connsiteY4" fmla="*/ 434499 h 1304925"/>
                  <a:gd name="connsiteX5" fmla="*/ 1074130 w 1197643"/>
                  <a:gd name="connsiteY5" fmla="*/ 617379 h 1304925"/>
                  <a:gd name="connsiteX6" fmla="*/ 1071984 w 1197643"/>
                  <a:gd name="connsiteY6" fmla="*/ 623809 h 1304925"/>
                  <a:gd name="connsiteX7" fmla="*/ 966816 w 1197643"/>
                  <a:gd name="connsiteY7" fmla="*/ 788829 h 1304925"/>
                  <a:gd name="connsiteX8" fmla="*/ 946069 w 1197643"/>
                  <a:gd name="connsiteY8" fmla="*/ 805260 h 1304925"/>
                  <a:gd name="connsiteX9" fmla="*/ 920314 w 1197643"/>
                  <a:gd name="connsiteY9" fmla="*/ 814547 h 1304925"/>
                  <a:gd name="connsiteX10" fmla="*/ 885258 w 1197643"/>
                  <a:gd name="connsiteY10" fmla="*/ 795973 h 1304925"/>
                  <a:gd name="connsiteX11" fmla="*/ 882396 w 1197643"/>
                  <a:gd name="connsiteY11" fmla="*/ 756682 h 1304925"/>
                  <a:gd name="connsiteX12" fmla="*/ 931045 w 1197643"/>
                  <a:gd name="connsiteY12" fmla="*/ 646669 h 1304925"/>
                  <a:gd name="connsiteX13" fmla="*/ 917452 w 1197643"/>
                  <a:gd name="connsiteY13" fmla="*/ 605235 h 1304925"/>
                  <a:gd name="connsiteX14" fmla="*/ 901713 w 1197643"/>
                  <a:gd name="connsiteY14" fmla="*/ 600949 h 1304925"/>
                  <a:gd name="connsiteX15" fmla="*/ 873811 w 1197643"/>
                  <a:gd name="connsiteY15" fmla="*/ 616665 h 1304925"/>
                  <a:gd name="connsiteX16" fmla="*/ 710693 w 1197643"/>
                  <a:gd name="connsiteY16" fmla="*/ 875268 h 1304925"/>
                  <a:gd name="connsiteX17" fmla="*/ 688515 w 1197643"/>
                  <a:gd name="connsiteY17" fmla="*/ 950278 h 1304925"/>
                  <a:gd name="connsiteX18" fmla="*/ 689946 w 1197643"/>
                  <a:gd name="connsiteY18" fmla="*/ 1273175 h 1304925"/>
                  <a:gd name="connsiteX19" fmla="*/ 956800 w 1197643"/>
                  <a:gd name="connsiteY19" fmla="*/ 1273175 h 1304925"/>
                  <a:gd name="connsiteX20" fmla="*/ 956800 w 1197643"/>
                  <a:gd name="connsiteY20" fmla="*/ 1096010 h 1304925"/>
                  <a:gd name="connsiteX21" fmla="*/ 956800 w 1197643"/>
                  <a:gd name="connsiteY21" fmla="*/ 1091724 h 1304925"/>
                  <a:gd name="connsiteX22" fmla="*/ 993287 w 1197643"/>
                  <a:gd name="connsiteY22" fmla="*/ 995998 h 1304925"/>
                  <a:gd name="connsiteX23" fmla="*/ 1059822 w 1197643"/>
                  <a:gd name="connsiteY23" fmla="*/ 896700 h 1304925"/>
                  <a:gd name="connsiteX24" fmla="*/ 1153543 w 1197643"/>
                  <a:gd name="connsiteY24" fmla="*/ 672386 h 1304925"/>
                  <a:gd name="connsiteX25" fmla="*/ 1156405 w 1197643"/>
                  <a:gd name="connsiteY25" fmla="*/ 659527 h 1304925"/>
                  <a:gd name="connsiteX26" fmla="*/ 1138519 w 1197643"/>
                  <a:gd name="connsiteY26" fmla="*/ 408067 h 1304925"/>
                  <a:gd name="connsiteX27" fmla="*/ 1113479 w 1197643"/>
                  <a:gd name="connsiteY27" fmla="*/ 340916 h 1304925"/>
                  <a:gd name="connsiteX28" fmla="*/ 1077708 w 1197643"/>
                  <a:gd name="connsiteY28" fmla="*/ 315913 h 1304925"/>
                  <a:gd name="connsiteX29" fmla="*/ 118348 w 1197643"/>
                  <a:gd name="connsiteY29" fmla="*/ 315913 h 1304925"/>
                  <a:gd name="connsiteX30" fmla="*/ 82577 w 1197643"/>
                  <a:gd name="connsiteY30" fmla="*/ 340916 h 1304925"/>
                  <a:gd name="connsiteX31" fmla="*/ 57537 w 1197643"/>
                  <a:gd name="connsiteY31" fmla="*/ 408067 h 1304925"/>
                  <a:gd name="connsiteX32" fmla="*/ 39651 w 1197643"/>
                  <a:gd name="connsiteY32" fmla="*/ 659527 h 1304925"/>
                  <a:gd name="connsiteX33" fmla="*/ 42513 w 1197643"/>
                  <a:gd name="connsiteY33" fmla="*/ 672386 h 1304925"/>
                  <a:gd name="connsiteX34" fmla="*/ 136234 w 1197643"/>
                  <a:gd name="connsiteY34" fmla="*/ 896700 h 1304925"/>
                  <a:gd name="connsiteX35" fmla="*/ 202768 w 1197643"/>
                  <a:gd name="connsiteY35" fmla="*/ 995998 h 1304925"/>
                  <a:gd name="connsiteX36" fmla="*/ 239255 w 1197643"/>
                  <a:gd name="connsiteY36" fmla="*/ 1091724 h 1304925"/>
                  <a:gd name="connsiteX37" fmla="*/ 239255 w 1197643"/>
                  <a:gd name="connsiteY37" fmla="*/ 1096010 h 1304925"/>
                  <a:gd name="connsiteX38" fmla="*/ 239255 w 1197643"/>
                  <a:gd name="connsiteY38" fmla="*/ 1273175 h 1304925"/>
                  <a:gd name="connsiteX39" fmla="*/ 506109 w 1197643"/>
                  <a:gd name="connsiteY39" fmla="*/ 1273175 h 1304925"/>
                  <a:gd name="connsiteX40" fmla="*/ 507540 w 1197643"/>
                  <a:gd name="connsiteY40" fmla="*/ 950278 h 1304925"/>
                  <a:gd name="connsiteX41" fmla="*/ 485362 w 1197643"/>
                  <a:gd name="connsiteY41" fmla="*/ 875268 h 1304925"/>
                  <a:gd name="connsiteX42" fmla="*/ 322245 w 1197643"/>
                  <a:gd name="connsiteY42" fmla="*/ 616665 h 1304925"/>
                  <a:gd name="connsiteX43" fmla="*/ 294343 w 1197643"/>
                  <a:gd name="connsiteY43" fmla="*/ 600949 h 1304925"/>
                  <a:gd name="connsiteX44" fmla="*/ 278604 w 1197643"/>
                  <a:gd name="connsiteY44" fmla="*/ 605235 h 1304925"/>
                  <a:gd name="connsiteX45" fmla="*/ 265010 w 1197643"/>
                  <a:gd name="connsiteY45" fmla="*/ 646669 h 1304925"/>
                  <a:gd name="connsiteX46" fmla="*/ 313659 w 1197643"/>
                  <a:gd name="connsiteY46" fmla="*/ 756682 h 1304925"/>
                  <a:gd name="connsiteX47" fmla="*/ 310798 w 1197643"/>
                  <a:gd name="connsiteY47" fmla="*/ 795973 h 1304925"/>
                  <a:gd name="connsiteX48" fmla="*/ 275742 w 1197643"/>
                  <a:gd name="connsiteY48" fmla="*/ 814547 h 1304925"/>
                  <a:gd name="connsiteX49" fmla="*/ 249986 w 1197643"/>
                  <a:gd name="connsiteY49" fmla="*/ 805260 h 1304925"/>
                  <a:gd name="connsiteX50" fmla="*/ 229239 w 1197643"/>
                  <a:gd name="connsiteY50" fmla="*/ 788829 h 1304925"/>
                  <a:gd name="connsiteX51" fmla="*/ 124071 w 1197643"/>
                  <a:gd name="connsiteY51" fmla="*/ 623809 h 1304925"/>
                  <a:gd name="connsiteX52" fmla="*/ 121925 w 1197643"/>
                  <a:gd name="connsiteY52" fmla="*/ 617379 h 1304925"/>
                  <a:gd name="connsiteX53" fmla="*/ 130510 w 1197643"/>
                  <a:gd name="connsiteY53" fmla="*/ 434499 h 1304925"/>
                  <a:gd name="connsiteX54" fmla="*/ 154119 w 1197643"/>
                  <a:gd name="connsiteY54" fmla="*/ 366634 h 1304925"/>
                  <a:gd name="connsiteX55" fmla="*/ 151973 w 1197643"/>
                  <a:gd name="connsiteY55" fmla="*/ 337344 h 1304925"/>
                  <a:gd name="connsiteX56" fmla="*/ 129795 w 1197643"/>
                  <a:gd name="connsiteY56" fmla="*/ 318056 h 1304925"/>
                  <a:gd name="connsiteX57" fmla="*/ 118348 w 1197643"/>
                  <a:gd name="connsiteY57" fmla="*/ 315913 h 1304925"/>
                  <a:gd name="connsiteX58" fmla="*/ 1078223 w 1197643"/>
                  <a:gd name="connsiteY58" fmla="*/ 284163 h 1304925"/>
                  <a:gd name="connsiteX59" fmla="*/ 1143202 w 1197643"/>
                  <a:gd name="connsiteY59" fmla="*/ 329912 h 1304925"/>
                  <a:gd name="connsiteX60" fmla="*/ 1168195 w 1197643"/>
                  <a:gd name="connsiteY60" fmla="*/ 396390 h 1304925"/>
                  <a:gd name="connsiteX61" fmla="*/ 1186760 w 1197643"/>
                  <a:gd name="connsiteY61" fmla="*/ 665877 h 1304925"/>
                  <a:gd name="connsiteX62" fmla="*/ 1183904 w 1197643"/>
                  <a:gd name="connsiteY62" fmla="*/ 679458 h 1304925"/>
                  <a:gd name="connsiteX63" fmla="*/ 1086077 w 1197643"/>
                  <a:gd name="connsiteY63" fmla="*/ 913919 h 1304925"/>
                  <a:gd name="connsiteX64" fmla="*/ 1020383 w 1197643"/>
                  <a:gd name="connsiteY64" fmla="*/ 1013279 h 1304925"/>
                  <a:gd name="connsiteX65" fmla="*/ 988964 w 1197643"/>
                  <a:gd name="connsiteY65" fmla="*/ 1096198 h 1304925"/>
                  <a:gd name="connsiteX66" fmla="*/ 989678 w 1197643"/>
                  <a:gd name="connsiteY66" fmla="*/ 1289199 h 1304925"/>
                  <a:gd name="connsiteX67" fmla="*/ 973969 w 1197643"/>
                  <a:gd name="connsiteY67" fmla="*/ 1304925 h 1304925"/>
                  <a:gd name="connsiteX68" fmla="*/ 667635 w 1197643"/>
                  <a:gd name="connsiteY68" fmla="*/ 1304925 h 1304925"/>
                  <a:gd name="connsiteX69" fmla="*/ 659780 w 1197643"/>
                  <a:gd name="connsiteY69" fmla="*/ 1291344 h 1304925"/>
                  <a:gd name="connsiteX70" fmla="*/ 658352 w 1197643"/>
                  <a:gd name="connsiteY70" fmla="*/ 950375 h 1304925"/>
                  <a:gd name="connsiteX71" fmla="*/ 684773 w 1197643"/>
                  <a:gd name="connsiteY71" fmla="*/ 858163 h 1304925"/>
                  <a:gd name="connsiteX72" fmla="*/ 849008 w 1197643"/>
                  <a:gd name="connsiteY72" fmla="*/ 599398 h 1304925"/>
                  <a:gd name="connsiteX73" fmla="*/ 902563 w 1197643"/>
                  <a:gd name="connsiteY73" fmla="*/ 569376 h 1304925"/>
                  <a:gd name="connsiteX74" fmla="*/ 933267 w 1197643"/>
                  <a:gd name="connsiteY74" fmla="*/ 577954 h 1304925"/>
                  <a:gd name="connsiteX75" fmla="*/ 960402 w 1197643"/>
                  <a:gd name="connsiteY75" fmla="*/ 659443 h 1304925"/>
                  <a:gd name="connsiteX76" fmla="*/ 911845 w 1197643"/>
                  <a:gd name="connsiteY76" fmla="*/ 769525 h 1304925"/>
                  <a:gd name="connsiteX77" fmla="*/ 921128 w 1197643"/>
                  <a:gd name="connsiteY77" fmla="*/ 783107 h 1304925"/>
                  <a:gd name="connsiteX78" fmla="*/ 926841 w 1197643"/>
                  <a:gd name="connsiteY78" fmla="*/ 780963 h 1304925"/>
                  <a:gd name="connsiteX79" fmla="*/ 948263 w 1197643"/>
                  <a:gd name="connsiteY79" fmla="*/ 763807 h 1304925"/>
                  <a:gd name="connsiteX80" fmla="*/ 1042519 w 1197643"/>
                  <a:gd name="connsiteY80" fmla="*/ 616554 h 1304925"/>
                  <a:gd name="connsiteX81" fmla="*/ 1043947 w 1197643"/>
                  <a:gd name="connsiteY81" fmla="*/ 609406 h 1304925"/>
                  <a:gd name="connsiteX82" fmla="*/ 1036093 w 1197643"/>
                  <a:gd name="connsiteY82" fmla="*/ 444997 h 1304925"/>
                  <a:gd name="connsiteX83" fmla="*/ 1013243 w 1197643"/>
                  <a:gd name="connsiteY83" fmla="*/ 376375 h 1304925"/>
                  <a:gd name="connsiteX84" fmla="*/ 1056801 w 1197643"/>
                  <a:gd name="connsiteY84" fmla="*/ 287737 h 1304925"/>
                  <a:gd name="connsiteX85" fmla="*/ 1078223 w 1197643"/>
                  <a:gd name="connsiteY85" fmla="*/ 284163 h 1304925"/>
                  <a:gd name="connsiteX86" fmla="*/ 119420 w 1197643"/>
                  <a:gd name="connsiteY86" fmla="*/ 284163 h 1304925"/>
                  <a:gd name="connsiteX87" fmla="*/ 140842 w 1197643"/>
                  <a:gd name="connsiteY87" fmla="*/ 287737 h 1304925"/>
                  <a:gd name="connsiteX88" fmla="*/ 184400 w 1197643"/>
                  <a:gd name="connsiteY88" fmla="*/ 376375 h 1304925"/>
                  <a:gd name="connsiteX89" fmla="*/ 161550 w 1197643"/>
                  <a:gd name="connsiteY89" fmla="*/ 444997 h 1304925"/>
                  <a:gd name="connsiteX90" fmla="*/ 153695 w 1197643"/>
                  <a:gd name="connsiteY90" fmla="*/ 609406 h 1304925"/>
                  <a:gd name="connsiteX91" fmla="*/ 155123 w 1197643"/>
                  <a:gd name="connsiteY91" fmla="*/ 616554 h 1304925"/>
                  <a:gd name="connsiteX92" fmla="*/ 249380 w 1197643"/>
                  <a:gd name="connsiteY92" fmla="*/ 763807 h 1304925"/>
                  <a:gd name="connsiteX93" fmla="*/ 270802 w 1197643"/>
                  <a:gd name="connsiteY93" fmla="*/ 780963 h 1304925"/>
                  <a:gd name="connsiteX94" fmla="*/ 276514 w 1197643"/>
                  <a:gd name="connsiteY94" fmla="*/ 783107 h 1304925"/>
                  <a:gd name="connsiteX95" fmla="*/ 285797 w 1197643"/>
                  <a:gd name="connsiteY95" fmla="*/ 769525 h 1304925"/>
                  <a:gd name="connsiteX96" fmla="*/ 237241 w 1197643"/>
                  <a:gd name="connsiteY96" fmla="*/ 659443 h 1304925"/>
                  <a:gd name="connsiteX97" fmla="*/ 264375 w 1197643"/>
                  <a:gd name="connsiteY97" fmla="*/ 577954 h 1304925"/>
                  <a:gd name="connsiteX98" fmla="*/ 295080 w 1197643"/>
                  <a:gd name="connsiteY98" fmla="*/ 569376 h 1304925"/>
                  <a:gd name="connsiteX99" fmla="*/ 348635 w 1197643"/>
                  <a:gd name="connsiteY99" fmla="*/ 599398 h 1304925"/>
                  <a:gd name="connsiteX100" fmla="*/ 512870 w 1197643"/>
                  <a:gd name="connsiteY100" fmla="*/ 858163 h 1304925"/>
                  <a:gd name="connsiteX101" fmla="*/ 539290 w 1197643"/>
                  <a:gd name="connsiteY101" fmla="*/ 950375 h 1304925"/>
                  <a:gd name="connsiteX102" fmla="*/ 537862 w 1197643"/>
                  <a:gd name="connsiteY102" fmla="*/ 1291344 h 1304925"/>
                  <a:gd name="connsiteX103" fmla="*/ 530007 w 1197643"/>
                  <a:gd name="connsiteY103" fmla="*/ 1304925 h 1304925"/>
                  <a:gd name="connsiteX104" fmla="*/ 224387 w 1197643"/>
                  <a:gd name="connsiteY104" fmla="*/ 1304925 h 1304925"/>
                  <a:gd name="connsiteX105" fmla="*/ 223673 w 1197643"/>
                  <a:gd name="connsiteY105" fmla="*/ 1304925 h 1304925"/>
                  <a:gd name="connsiteX106" fmla="*/ 207964 w 1197643"/>
                  <a:gd name="connsiteY106" fmla="*/ 1289199 h 1304925"/>
                  <a:gd name="connsiteX107" fmla="*/ 208678 w 1197643"/>
                  <a:gd name="connsiteY107" fmla="*/ 1096198 h 1304925"/>
                  <a:gd name="connsiteX108" fmla="*/ 177259 w 1197643"/>
                  <a:gd name="connsiteY108" fmla="*/ 1013279 h 1304925"/>
                  <a:gd name="connsiteX109" fmla="*/ 111565 w 1197643"/>
                  <a:gd name="connsiteY109" fmla="*/ 913919 h 1304925"/>
                  <a:gd name="connsiteX110" fmla="*/ 13738 w 1197643"/>
                  <a:gd name="connsiteY110" fmla="*/ 679458 h 1304925"/>
                  <a:gd name="connsiteX111" fmla="*/ 10882 w 1197643"/>
                  <a:gd name="connsiteY111" fmla="*/ 665877 h 1304925"/>
                  <a:gd name="connsiteX112" fmla="*/ 29448 w 1197643"/>
                  <a:gd name="connsiteY112" fmla="*/ 396390 h 1304925"/>
                  <a:gd name="connsiteX113" fmla="*/ 54440 w 1197643"/>
                  <a:gd name="connsiteY113" fmla="*/ 329912 h 1304925"/>
                  <a:gd name="connsiteX114" fmla="*/ 119420 w 1197643"/>
                  <a:gd name="connsiteY114" fmla="*/ 284163 h 1304925"/>
                  <a:gd name="connsiteX115" fmla="*/ 586062 w 1197643"/>
                  <a:gd name="connsiteY115" fmla="*/ 84138 h 1304925"/>
                  <a:gd name="connsiteX116" fmla="*/ 611739 w 1197643"/>
                  <a:gd name="connsiteY116" fmla="*/ 84138 h 1304925"/>
                  <a:gd name="connsiteX117" fmla="*/ 611739 w 1197643"/>
                  <a:gd name="connsiteY117" fmla="*/ 102626 h 1304925"/>
                  <a:gd name="connsiteX118" fmla="*/ 641694 w 1197643"/>
                  <a:gd name="connsiteY118" fmla="*/ 112581 h 1304925"/>
                  <a:gd name="connsiteX119" fmla="*/ 633849 w 1197643"/>
                  <a:gd name="connsiteY119" fmla="*/ 136046 h 1304925"/>
                  <a:gd name="connsiteX120" fmla="*/ 600327 w 1197643"/>
                  <a:gd name="connsiteY120" fmla="*/ 125380 h 1304925"/>
                  <a:gd name="connsiteX121" fmla="*/ 585349 w 1197643"/>
                  <a:gd name="connsiteY121" fmla="*/ 130357 h 1304925"/>
                  <a:gd name="connsiteX122" fmla="*/ 579643 w 1197643"/>
                  <a:gd name="connsiteY122" fmla="*/ 144579 h 1304925"/>
                  <a:gd name="connsiteX123" fmla="*/ 611025 w 1197643"/>
                  <a:gd name="connsiteY123" fmla="*/ 172310 h 1304925"/>
                  <a:gd name="connsiteX124" fmla="*/ 635275 w 1197643"/>
                  <a:gd name="connsiteY124" fmla="*/ 187954 h 1304925"/>
                  <a:gd name="connsiteX125" fmla="*/ 645260 w 1197643"/>
                  <a:gd name="connsiteY125" fmla="*/ 202886 h 1304925"/>
                  <a:gd name="connsiteX126" fmla="*/ 648826 w 1197643"/>
                  <a:gd name="connsiteY126" fmla="*/ 222085 h 1304925"/>
                  <a:gd name="connsiteX127" fmla="*/ 638841 w 1197643"/>
                  <a:gd name="connsiteY127" fmla="*/ 249105 h 1304925"/>
                  <a:gd name="connsiteX128" fmla="*/ 611739 w 1197643"/>
                  <a:gd name="connsiteY128" fmla="*/ 264749 h 1304925"/>
                  <a:gd name="connsiteX129" fmla="*/ 611739 w 1197643"/>
                  <a:gd name="connsiteY129" fmla="*/ 288925 h 1304925"/>
                  <a:gd name="connsiteX130" fmla="*/ 586062 w 1197643"/>
                  <a:gd name="connsiteY130" fmla="*/ 288925 h 1304925"/>
                  <a:gd name="connsiteX131" fmla="*/ 586062 w 1197643"/>
                  <a:gd name="connsiteY131" fmla="*/ 266171 h 1304925"/>
                  <a:gd name="connsiteX132" fmla="*/ 550401 w 1197643"/>
                  <a:gd name="connsiteY132" fmla="*/ 254794 h 1304925"/>
                  <a:gd name="connsiteX133" fmla="*/ 561813 w 1197643"/>
                  <a:gd name="connsiteY133" fmla="*/ 229907 h 1304925"/>
                  <a:gd name="connsiteX134" fmla="*/ 594621 w 1197643"/>
                  <a:gd name="connsiteY134" fmla="*/ 241284 h 1304925"/>
                  <a:gd name="connsiteX135" fmla="*/ 620297 w 1197643"/>
                  <a:gd name="connsiteY135" fmla="*/ 224218 h 1304925"/>
                  <a:gd name="connsiteX136" fmla="*/ 613878 w 1197643"/>
                  <a:gd name="connsiteY136" fmla="*/ 208575 h 1304925"/>
                  <a:gd name="connsiteX137" fmla="*/ 588915 w 1197643"/>
                  <a:gd name="connsiteY137" fmla="*/ 191509 h 1304925"/>
                  <a:gd name="connsiteX138" fmla="*/ 564666 w 1197643"/>
                  <a:gd name="connsiteY138" fmla="*/ 177288 h 1304925"/>
                  <a:gd name="connsiteX139" fmla="*/ 553967 w 1197643"/>
                  <a:gd name="connsiteY139" fmla="*/ 162355 h 1304925"/>
                  <a:gd name="connsiteX140" fmla="*/ 551114 w 1197643"/>
                  <a:gd name="connsiteY140" fmla="*/ 144579 h 1304925"/>
                  <a:gd name="connsiteX141" fmla="*/ 561100 w 1197643"/>
                  <a:gd name="connsiteY141" fmla="*/ 118980 h 1304925"/>
                  <a:gd name="connsiteX142" fmla="*/ 586062 w 1197643"/>
                  <a:gd name="connsiteY142" fmla="*/ 104048 h 1304925"/>
                  <a:gd name="connsiteX143" fmla="*/ 586062 w 1197643"/>
                  <a:gd name="connsiteY143" fmla="*/ 84138 h 1304925"/>
                  <a:gd name="connsiteX144" fmla="*/ 248776 w 1197643"/>
                  <a:gd name="connsiteY144" fmla="*/ 31750 h 1304925"/>
                  <a:gd name="connsiteX145" fmla="*/ 248776 w 1197643"/>
                  <a:gd name="connsiteY145" fmla="*/ 341312 h 1304925"/>
                  <a:gd name="connsiteX146" fmla="*/ 947276 w 1197643"/>
                  <a:gd name="connsiteY146" fmla="*/ 341312 h 1304925"/>
                  <a:gd name="connsiteX147" fmla="*/ 947276 w 1197643"/>
                  <a:gd name="connsiteY147" fmla="*/ 31750 h 1304925"/>
                  <a:gd name="connsiteX148" fmla="*/ 248776 w 1197643"/>
                  <a:gd name="connsiteY148" fmla="*/ 31750 h 1304925"/>
                  <a:gd name="connsiteX149" fmla="*/ 226319 w 1197643"/>
                  <a:gd name="connsiteY149" fmla="*/ 0 h 1304925"/>
                  <a:gd name="connsiteX150" fmla="*/ 969734 w 1197643"/>
                  <a:gd name="connsiteY150" fmla="*/ 0 h 1304925"/>
                  <a:gd name="connsiteX151" fmla="*/ 979026 w 1197643"/>
                  <a:gd name="connsiteY151" fmla="*/ 8576 h 1304925"/>
                  <a:gd name="connsiteX152" fmla="*/ 979026 w 1197643"/>
                  <a:gd name="connsiteY152" fmla="*/ 363771 h 1304925"/>
                  <a:gd name="connsiteX153" fmla="*/ 969734 w 1197643"/>
                  <a:gd name="connsiteY153" fmla="*/ 373062 h 1304925"/>
                  <a:gd name="connsiteX154" fmla="*/ 226319 w 1197643"/>
                  <a:gd name="connsiteY154" fmla="*/ 373062 h 1304925"/>
                  <a:gd name="connsiteX155" fmla="*/ 217026 w 1197643"/>
                  <a:gd name="connsiteY155" fmla="*/ 363771 h 1304925"/>
                  <a:gd name="connsiteX156" fmla="*/ 217026 w 1197643"/>
                  <a:gd name="connsiteY156" fmla="*/ 8576 h 1304925"/>
                  <a:gd name="connsiteX157" fmla="*/ 226319 w 1197643"/>
                  <a:gd name="connsiteY157"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97643" h="1304925">
                    <a:moveTo>
                      <a:pt x="1077708" y="315913"/>
                    </a:moveTo>
                    <a:cubicBezTo>
                      <a:pt x="1074130" y="315913"/>
                      <a:pt x="1069838" y="316627"/>
                      <a:pt x="1066261" y="318056"/>
                    </a:cubicBezTo>
                    <a:cubicBezTo>
                      <a:pt x="1056245" y="321628"/>
                      <a:pt x="1048375" y="328057"/>
                      <a:pt x="1044083" y="337344"/>
                    </a:cubicBezTo>
                    <a:cubicBezTo>
                      <a:pt x="1039075" y="346631"/>
                      <a:pt x="1039075" y="356632"/>
                      <a:pt x="1041936" y="366634"/>
                    </a:cubicBezTo>
                    <a:cubicBezTo>
                      <a:pt x="1041936" y="366634"/>
                      <a:pt x="1041936" y="366634"/>
                      <a:pt x="1065545" y="434499"/>
                    </a:cubicBezTo>
                    <a:cubicBezTo>
                      <a:pt x="1085577" y="493792"/>
                      <a:pt x="1088439" y="556657"/>
                      <a:pt x="1074130" y="617379"/>
                    </a:cubicBezTo>
                    <a:cubicBezTo>
                      <a:pt x="1074130" y="617379"/>
                      <a:pt x="1074130" y="617379"/>
                      <a:pt x="1071984" y="623809"/>
                    </a:cubicBezTo>
                    <a:cubicBezTo>
                      <a:pt x="1056245" y="688817"/>
                      <a:pt x="1019043" y="746681"/>
                      <a:pt x="966816" y="788829"/>
                    </a:cubicBezTo>
                    <a:cubicBezTo>
                      <a:pt x="966816" y="788829"/>
                      <a:pt x="966816" y="788829"/>
                      <a:pt x="946069" y="805260"/>
                    </a:cubicBezTo>
                    <a:cubicBezTo>
                      <a:pt x="938199" y="811689"/>
                      <a:pt x="929614" y="814547"/>
                      <a:pt x="920314" y="814547"/>
                    </a:cubicBezTo>
                    <a:cubicBezTo>
                      <a:pt x="906005" y="814547"/>
                      <a:pt x="893127" y="807403"/>
                      <a:pt x="885258" y="795973"/>
                    </a:cubicBezTo>
                    <a:cubicBezTo>
                      <a:pt x="878103" y="783829"/>
                      <a:pt x="876673" y="769541"/>
                      <a:pt x="882396" y="756682"/>
                    </a:cubicBezTo>
                    <a:cubicBezTo>
                      <a:pt x="882396" y="756682"/>
                      <a:pt x="882396" y="756682"/>
                      <a:pt x="931045" y="646669"/>
                    </a:cubicBezTo>
                    <a:cubicBezTo>
                      <a:pt x="937484" y="631667"/>
                      <a:pt x="931760" y="613807"/>
                      <a:pt x="917452" y="605235"/>
                    </a:cubicBezTo>
                    <a:cubicBezTo>
                      <a:pt x="912444" y="602377"/>
                      <a:pt x="906721" y="600949"/>
                      <a:pt x="901713" y="600949"/>
                    </a:cubicBezTo>
                    <a:cubicBezTo>
                      <a:pt x="890266" y="600949"/>
                      <a:pt x="880250" y="606664"/>
                      <a:pt x="873811" y="616665"/>
                    </a:cubicBezTo>
                    <a:cubicBezTo>
                      <a:pt x="873811" y="616665"/>
                      <a:pt x="873811" y="616665"/>
                      <a:pt x="710693" y="875268"/>
                    </a:cubicBezTo>
                    <a:cubicBezTo>
                      <a:pt x="696385" y="897414"/>
                      <a:pt x="688515" y="923846"/>
                      <a:pt x="688515" y="950278"/>
                    </a:cubicBezTo>
                    <a:cubicBezTo>
                      <a:pt x="688515" y="950278"/>
                      <a:pt x="688515" y="950278"/>
                      <a:pt x="689946" y="1273175"/>
                    </a:cubicBezTo>
                    <a:cubicBezTo>
                      <a:pt x="689946" y="1273175"/>
                      <a:pt x="689946" y="1273175"/>
                      <a:pt x="956800" y="1273175"/>
                    </a:cubicBezTo>
                    <a:cubicBezTo>
                      <a:pt x="956800" y="1273175"/>
                      <a:pt x="956800" y="1273175"/>
                      <a:pt x="956800" y="1096010"/>
                    </a:cubicBezTo>
                    <a:cubicBezTo>
                      <a:pt x="956800" y="1094581"/>
                      <a:pt x="956800" y="1093153"/>
                      <a:pt x="956800" y="1091724"/>
                    </a:cubicBezTo>
                    <a:cubicBezTo>
                      <a:pt x="961808" y="1057434"/>
                      <a:pt x="974686" y="1024573"/>
                      <a:pt x="993287" y="995998"/>
                    </a:cubicBezTo>
                    <a:cubicBezTo>
                      <a:pt x="993287" y="995998"/>
                      <a:pt x="993287" y="995998"/>
                      <a:pt x="1059822" y="896700"/>
                    </a:cubicBezTo>
                    <a:cubicBezTo>
                      <a:pt x="1104894" y="828120"/>
                      <a:pt x="1136373" y="753110"/>
                      <a:pt x="1153543" y="672386"/>
                    </a:cubicBezTo>
                    <a:cubicBezTo>
                      <a:pt x="1153543" y="672386"/>
                      <a:pt x="1153543" y="672386"/>
                      <a:pt x="1156405" y="659527"/>
                    </a:cubicBezTo>
                    <a:cubicBezTo>
                      <a:pt x="1174290" y="575945"/>
                      <a:pt x="1168567" y="488792"/>
                      <a:pt x="1138519" y="408067"/>
                    </a:cubicBezTo>
                    <a:cubicBezTo>
                      <a:pt x="1138519" y="408067"/>
                      <a:pt x="1138519" y="408067"/>
                      <a:pt x="1113479" y="340916"/>
                    </a:cubicBezTo>
                    <a:cubicBezTo>
                      <a:pt x="1107756" y="325914"/>
                      <a:pt x="1093447" y="315913"/>
                      <a:pt x="1077708" y="315913"/>
                    </a:cubicBezTo>
                    <a:close/>
                    <a:moveTo>
                      <a:pt x="118348" y="315913"/>
                    </a:moveTo>
                    <a:cubicBezTo>
                      <a:pt x="102609" y="315913"/>
                      <a:pt x="88300" y="325914"/>
                      <a:pt x="82577" y="340916"/>
                    </a:cubicBezTo>
                    <a:cubicBezTo>
                      <a:pt x="82577" y="340916"/>
                      <a:pt x="82577" y="340916"/>
                      <a:pt x="57537" y="408067"/>
                    </a:cubicBezTo>
                    <a:cubicBezTo>
                      <a:pt x="27489" y="488792"/>
                      <a:pt x="21765" y="575945"/>
                      <a:pt x="39651" y="659527"/>
                    </a:cubicBezTo>
                    <a:cubicBezTo>
                      <a:pt x="39651" y="659527"/>
                      <a:pt x="39651" y="659527"/>
                      <a:pt x="42513" y="672386"/>
                    </a:cubicBezTo>
                    <a:cubicBezTo>
                      <a:pt x="59683" y="753110"/>
                      <a:pt x="91162" y="828120"/>
                      <a:pt x="136234" y="896700"/>
                    </a:cubicBezTo>
                    <a:cubicBezTo>
                      <a:pt x="136234" y="896700"/>
                      <a:pt x="136234" y="896700"/>
                      <a:pt x="202768" y="995998"/>
                    </a:cubicBezTo>
                    <a:cubicBezTo>
                      <a:pt x="221369" y="1024573"/>
                      <a:pt x="234247" y="1057434"/>
                      <a:pt x="239255" y="1091724"/>
                    </a:cubicBezTo>
                    <a:cubicBezTo>
                      <a:pt x="239255" y="1093153"/>
                      <a:pt x="239255" y="1094581"/>
                      <a:pt x="239255" y="1096010"/>
                    </a:cubicBezTo>
                    <a:cubicBezTo>
                      <a:pt x="239255" y="1096010"/>
                      <a:pt x="239255" y="1096010"/>
                      <a:pt x="239255" y="1273175"/>
                    </a:cubicBezTo>
                    <a:cubicBezTo>
                      <a:pt x="239255" y="1273175"/>
                      <a:pt x="239255" y="1273175"/>
                      <a:pt x="506109" y="1273175"/>
                    </a:cubicBezTo>
                    <a:cubicBezTo>
                      <a:pt x="506109" y="1273175"/>
                      <a:pt x="506109" y="1273175"/>
                      <a:pt x="507540" y="950278"/>
                    </a:cubicBezTo>
                    <a:cubicBezTo>
                      <a:pt x="507540" y="923846"/>
                      <a:pt x="499671" y="897414"/>
                      <a:pt x="485362" y="875268"/>
                    </a:cubicBezTo>
                    <a:cubicBezTo>
                      <a:pt x="485362" y="875268"/>
                      <a:pt x="485362" y="875268"/>
                      <a:pt x="322245" y="616665"/>
                    </a:cubicBezTo>
                    <a:cubicBezTo>
                      <a:pt x="315806" y="606664"/>
                      <a:pt x="305790" y="600949"/>
                      <a:pt x="294343" y="600949"/>
                    </a:cubicBezTo>
                    <a:cubicBezTo>
                      <a:pt x="289335" y="600949"/>
                      <a:pt x="283612" y="602377"/>
                      <a:pt x="278604" y="605235"/>
                    </a:cubicBezTo>
                    <a:cubicBezTo>
                      <a:pt x="264295" y="613807"/>
                      <a:pt x="258572" y="631667"/>
                      <a:pt x="265010" y="646669"/>
                    </a:cubicBezTo>
                    <a:cubicBezTo>
                      <a:pt x="265010" y="646669"/>
                      <a:pt x="265010" y="646669"/>
                      <a:pt x="313659" y="756682"/>
                    </a:cubicBezTo>
                    <a:cubicBezTo>
                      <a:pt x="319383" y="769541"/>
                      <a:pt x="317952" y="783829"/>
                      <a:pt x="310798" y="795973"/>
                    </a:cubicBezTo>
                    <a:cubicBezTo>
                      <a:pt x="302928" y="807403"/>
                      <a:pt x="290050" y="814547"/>
                      <a:pt x="275742" y="814547"/>
                    </a:cubicBezTo>
                    <a:cubicBezTo>
                      <a:pt x="266441" y="814547"/>
                      <a:pt x="257856" y="811689"/>
                      <a:pt x="249986" y="805260"/>
                    </a:cubicBezTo>
                    <a:cubicBezTo>
                      <a:pt x="249986" y="805260"/>
                      <a:pt x="249986" y="805260"/>
                      <a:pt x="229239" y="788829"/>
                    </a:cubicBezTo>
                    <a:cubicBezTo>
                      <a:pt x="177013" y="746681"/>
                      <a:pt x="139811" y="688817"/>
                      <a:pt x="124071" y="623809"/>
                    </a:cubicBezTo>
                    <a:cubicBezTo>
                      <a:pt x="124071" y="623809"/>
                      <a:pt x="124071" y="623809"/>
                      <a:pt x="121925" y="617379"/>
                    </a:cubicBezTo>
                    <a:cubicBezTo>
                      <a:pt x="107616" y="556657"/>
                      <a:pt x="110478" y="493792"/>
                      <a:pt x="130510" y="434499"/>
                    </a:cubicBezTo>
                    <a:cubicBezTo>
                      <a:pt x="130510" y="434499"/>
                      <a:pt x="130510" y="434499"/>
                      <a:pt x="154119" y="366634"/>
                    </a:cubicBezTo>
                    <a:cubicBezTo>
                      <a:pt x="157696" y="356632"/>
                      <a:pt x="156981" y="346631"/>
                      <a:pt x="151973" y="337344"/>
                    </a:cubicBezTo>
                    <a:cubicBezTo>
                      <a:pt x="147680" y="328057"/>
                      <a:pt x="139811" y="321628"/>
                      <a:pt x="129795" y="318056"/>
                    </a:cubicBezTo>
                    <a:cubicBezTo>
                      <a:pt x="126218" y="316627"/>
                      <a:pt x="121925" y="315913"/>
                      <a:pt x="118348" y="315913"/>
                    </a:cubicBezTo>
                    <a:close/>
                    <a:moveTo>
                      <a:pt x="1078223" y="284163"/>
                    </a:moveTo>
                    <a:cubicBezTo>
                      <a:pt x="1106785" y="284163"/>
                      <a:pt x="1133206" y="302034"/>
                      <a:pt x="1143202" y="329912"/>
                    </a:cubicBezTo>
                    <a:cubicBezTo>
                      <a:pt x="1143202" y="329912"/>
                      <a:pt x="1143202" y="329912"/>
                      <a:pt x="1168195" y="396390"/>
                    </a:cubicBezTo>
                    <a:cubicBezTo>
                      <a:pt x="1199614" y="482883"/>
                      <a:pt x="1206040" y="576524"/>
                      <a:pt x="1186760" y="665877"/>
                    </a:cubicBezTo>
                    <a:cubicBezTo>
                      <a:pt x="1186760" y="665877"/>
                      <a:pt x="1186760" y="665877"/>
                      <a:pt x="1183904" y="679458"/>
                    </a:cubicBezTo>
                    <a:cubicBezTo>
                      <a:pt x="1166767" y="763092"/>
                      <a:pt x="1133206" y="842437"/>
                      <a:pt x="1086077" y="913919"/>
                    </a:cubicBezTo>
                    <a:cubicBezTo>
                      <a:pt x="1086077" y="913919"/>
                      <a:pt x="1086077" y="913919"/>
                      <a:pt x="1020383" y="1013279"/>
                    </a:cubicBezTo>
                    <a:cubicBezTo>
                      <a:pt x="1003960" y="1038298"/>
                      <a:pt x="993249" y="1066890"/>
                      <a:pt x="988964" y="1096198"/>
                    </a:cubicBezTo>
                    <a:cubicBezTo>
                      <a:pt x="988964" y="1096198"/>
                      <a:pt x="988964" y="1096198"/>
                      <a:pt x="989678" y="1289199"/>
                    </a:cubicBezTo>
                    <a:cubicBezTo>
                      <a:pt x="989678" y="1297777"/>
                      <a:pt x="982538" y="1304925"/>
                      <a:pt x="973969" y="1304925"/>
                    </a:cubicBezTo>
                    <a:cubicBezTo>
                      <a:pt x="973969" y="1304925"/>
                      <a:pt x="973969" y="1304925"/>
                      <a:pt x="667635" y="1304925"/>
                    </a:cubicBezTo>
                    <a:cubicBezTo>
                      <a:pt x="662637" y="1302066"/>
                      <a:pt x="659780" y="1296347"/>
                      <a:pt x="659780" y="1291344"/>
                    </a:cubicBezTo>
                    <a:cubicBezTo>
                      <a:pt x="659780" y="1291344"/>
                      <a:pt x="659780" y="1291344"/>
                      <a:pt x="658352" y="950375"/>
                    </a:cubicBezTo>
                    <a:cubicBezTo>
                      <a:pt x="658352" y="917493"/>
                      <a:pt x="667635" y="886041"/>
                      <a:pt x="684773" y="858163"/>
                    </a:cubicBezTo>
                    <a:cubicBezTo>
                      <a:pt x="684773" y="858163"/>
                      <a:pt x="684773" y="858163"/>
                      <a:pt x="849008" y="599398"/>
                    </a:cubicBezTo>
                    <a:cubicBezTo>
                      <a:pt x="860433" y="580098"/>
                      <a:pt x="881141" y="569376"/>
                      <a:pt x="902563" y="569376"/>
                    </a:cubicBezTo>
                    <a:cubicBezTo>
                      <a:pt x="912559" y="569376"/>
                      <a:pt x="923984" y="572235"/>
                      <a:pt x="933267" y="577954"/>
                    </a:cubicBezTo>
                    <a:cubicBezTo>
                      <a:pt x="961830" y="594395"/>
                      <a:pt x="973969" y="629421"/>
                      <a:pt x="960402" y="659443"/>
                    </a:cubicBezTo>
                    <a:cubicBezTo>
                      <a:pt x="960402" y="659443"/>
                      <a:pt x="960402" y="659443"/>
                      <a:pt x="911845" y="769525"/>
                    </a:cubicBezTo>
                    <a:cubicBezTo>
                      <a:pt x="908989" y="776674"/>
                      <a:pt x="914702" y="783107"/>
                      <a:pt x="921128" y="783107"/>
                    </a:cubicBezTo>
                    <a:cubicBezTo>
                      <a:pt x="922556" y="783107"/>
                      <a:pt x="924699" y="782392"/>
                      <a:pt x="926841" y="780963"/>
                    </a:cubicBezTo>
                    <a:cubicBezTo>
                      <a:pt x="926841" y="780963"/>
                      <a:pt x="926841" y="780963"/>
                      <a:pt x="948263" y="763807"/>
                    </a:cubicBezTo>
                    <a:cubicBezTo>
                      <a:pt x="994677" y="726636"/>
                      <a:pt x="1028238" y="674454"/>
                      <a:pt x="1042519" y="616554"/>
                    </a:cubicBezTo>
                    <a:cubicBezTo>
                      <a:pt x="1042519" y="616554"/>
                      <a:pt x="1042519" y="616554"/>
                      <a:pt x="1043947" y="609406"/>
                    </a:cubicBezTo>
                    <a:cubicBezTo>
                      <a:pt x="1057515" y="555080"/>
                      <a:pt x="1054658" y="497894"/>
                      <a:pt x="1036093" y="444997"/>
                    </a:cubicBezTo>
                    <a:cubicBezTo>
                      <a:pt x="1036093" y="444997"/>
                      <a:pt x="1036093" y="444997"/>
                      <a:pt x="1013243" y="376375"/>
                    </a:cubicBezTo>
                    <a:cubicBezTo>
                      <a:pt x="1000389" y="339919"/>
                      <a:pt x="1019669" y="299889"/>
                      <a:pt x="1056801" y="287737"/>
                    </a:cubicBezTo>
                    <a:cubicBezTo>
                      <a:pt x="1063941" y="285593"/>
                      <a:pt x="1071082" y="284163"/>
                      <a:pt x="1078223" y="284163"/>
                    </a:cubicBezTo>
                    <a:close/>
                    <a:moveTo>
                      <a:pt x="119420" y="284163"/>
                    </a:moveTo>
                    <a:cubicBezTo>
                      <a:pt x="126561" y="284163"/>
                      <a:pt x="133701" y="285593"/>
                      <a:pt x="140842" y="287737"/>
                    </a:cubicBezTo>
                    <a:cubicBezTo>
                      <a:pt x="177973" y="299889"/>
                      <a:pt x="197253" y="339919"/>
                      <a:pt x="184400" y="376375"/>
                    </a:cubicBezTo>
                    <a:cubicBezTo>
                      <a:pt x="184400" y="376375"/>
                      <a:pt x="184400" y="376375"/>
                      <a:pt x="161550" y="444997"/>
                    </a:cubicBezTo>
                    <a:cubicBezTo>
                      <a:pt x="142984" y="497894"/>
                      <a:pt x="140128" y="555080"/>
                      <a:pt x="153695" y="609406"/>
                    </a:cubicBezTo>
                    <a:cubicBezTo>
                      <a:pt x="153695" y="609406"/>
                      <a:pt x="153695" y="609406"/>
                      <a:pt x="155123" y="616554"/>
                    </a:cubicBezTo>
                    <a:cubicBezTo>
                      <a:pt x="169404" y="674454"/>
                      <a:pt x="202966" y="726636"/>
                      <a:pt x="249380" y="763807"/>
                    </a:cubicBezTo>
                    <a:cubicBezTo>
                      <a:pt x="249380" y="763807"/>
                      <a:pt x="249380" y="763807"/>
                      <a:pt x="270802" y="780963"/>
                    </a:cubicBezTo>
                    <a:cubicBezTo>
                      <a:pt x="272944" y="782392"/>
                      <a:pt x="275086" y="783107"/>
                      <a:pt x="276514" y="783107"/>
                    </a:cubicBezTo>
                    <a:cubicBezTo>
                      <a:pt x="282941" y="783107"/>
                      <a:pt x="288653" y="776674"/>
                      <a:pt x="285797" y="769525"/>
                    </a:cubicBezTo>
                    <a:cubicBezTo>
                      <a:pt x="285797" y="769525"/>
                      <a:pt x="285797" y="769525"/>
                      <a:pt x="237241" y="659443"/>
                    </a:cubicBezTo>
                    <a:cubicBezTo>
                      <a:pt x="223673" y="629421"/>
                      <a:pt x="235813" y="594395"/>
                      <a:pt x="264375" y="577954"/>
                    </a:cubicBezTo>
                    <a:cubicBezTo>
                      <a:pt x="273658" y="572235"/>
                      <a:pt x="285083" y="569376"/>
                      <a:pt x="295080" y="569376"/>
                    </a:cubicBezTo>
                    <a:cubicBezTo>
                      <a:pt x="316502" y="569376"/>
                      <a:pt x="337210" y="580098"/>
                      <a:pt x="348635" y="599398"/>
                    </a:cubicBezTo>
                    <a:cubicBezTo>
                      <a:pt x="348635" y="599398"/>
                      <a:pt x="348635" y="599398"/>
                      <a:pt x="512870" y="858163"/>
                    </a:cubicBezTo>
                    <a:cubicBezTo>
                      <a:pt x="530007" y="886041"/>
                      <a:pt x="539290" y="917493"/>
                      <a:pt x="539290" y="950375"/>
                    </a:cubicBezTo>
                    <a:cubicBezTo>
                      <a:pt x="539290" y="950375"/>
                      <a:pt x="539290" y="950375"/>
                      <a:pt x="537862" y="1291344"/>
                    </a:cubicBezTo>
                    <a:cubicBezTo>
                      <a:pt x="537862" y="1296347"/>
                      <a:pt x="535006" y="1302066"/>
                      <a:pt x="530007" y="1304925"/>
                    </a:cubicBezTo>
                    <a:cubicBezTo>
                      <a:pt x="530007" y="1304925"/>
                      <a:pt x="530007" y="1304925"/>
                      <a:pt x="224387" y="1304925"/>
                    </a:cubicBezTo>
                    <a:cubicBezTo>
                      <a:pt x="223673" y="1304925"/>
                      <a:pt x="223673" y="1304925"/>
                      <a:pt x="223673" y="1304925"/>
                    </a:cubicBezTo>
                    <a:cubicBezTo>
                      <a:pt x="215105" y="1304925"/>
                      <a:pt x="207964" y="1297777"/>
                      <a:pt x="207964" y="1289199"/>
                    </a:cubicBezTo>
                    <a:cubicBezTo>
                      <a:pt x="207964" y="1289199"/>
                      <a:pt x="207964" y="1289199"/>
                      <a:pt x="208678" y="1096198"/>
                    </a:cubicBezTo>
                    <a:cubicBezTo>
                      <a:pt x="204394" y="1066890"/>
                      <a:pt x="193683" y="1038298"/>
                      <a:pt x="177259" y="1013279"/>
                    </a:cubicBezTo>
                    <a:cubicBezTo>
                      <a:pt x="177259" y="1013279"/>
                      <a:pt x="177259" y="1013279"/>
                      <a:pt x="111565" y="913919"/>
                    </a:cubicBezTo>
                    <a:cubicBezTo>
                      <a:pt x="64437" y="842437"/>
                      <a:pt x="30876" y="763092"/>
                      <a:pt x="13738" y="679458"/>
                    </a:cubicBezTo>
                    <a:cubicBezTo>
                      <a:pt x="13738" y="679458"/>
                      <a:pt x="13738" y="679458"/>
                      <a:pt x="10882" y="665877"/>
                    </a:cubicBezTo>
                    <a:cubicBezTo>
                      <a:pt x="-8398" y="576524"/>
                      <a:pt x="-1971" y="482883"/>
                      <a:pt x="29448" y="396390"/>
                    </a:cubicBezTo>
                    <a:cubicBezTo>
                      <a:pt x="29448" y="396390"/>
                      <a:pt x="29448" y="396390"/>
                      <a:pt x="54440" y="329912"/>
                    </a:cubicBezTo>
                    <a:cubicBezTo>
                      <a:pt x="64437" y="302034"/>
                      <a:pt x="90857" y="284163"/>
                      <a:pt x="119420" y="284163"/>
                    </a:cubicBezTo>
                    <a:close/>
                    <a:moveTo>
                      <a:pt x="586062" y="84138"/>
                    </a:moveTo>
                    <a:cubicBezTo>
                      <a:pt x="611739" y="84138"/>
                      <a:pt x="611739" y="84138"/>
                      <a:pt x="611739" y="84138"/>
                    </a:cubicBezTo>
                    <a:cubicBezTo>
                      <a:pt x="611739" y="102626"/>
                      <a:pt x="611739" y="102626"/>
                      <a:pt x="611739" y="102626"/>
                    </a:cubicBezTo>
                    <a:cubicBezTo>
                      <a:pt x="624577" y="104048"/>
                      <a:pt x="635988" y="106892"/>
                      <a:pt x="641694" y="112581"/>
                    </a:cubicBezTo>
                    <a:cubicBezTo>
                      <a:pt x="633849" y="136046"/>
                      <a:pt x="633849" y="136046"/>
                      <a:pt x="633849" y="136046"/>
                    </a:cubicBezTo>
                    <a:cubicBezTo>
                      <a:pt x="623150" y="128935"/>
                      <a:pt x="611739" y="125380"/>
                      <a:pt x="600327" y="125380"/>
                    </a:cubicBezTo>
                    <a:cubicBezTo>
                      <a:pt x="593908" y="125380"/>
                      <a:pt x="588915" y="127513"/>
                      <a:pt x="585349" y="130357"/>
                    </a:cubicBezTo>
                    <a:cubicBezTo>
                      <a:pt x="581070" y="133913"/>
                      <a:pt x="579643" y="138890"/>
                      <a:pt x="579643" y="144579"/>
                    </a:cubicBezTo>
                    <a:cubicBezTo>
                      <a:pt x="579643" y="153112"/>
                      <a:pt x="589629" y="163066"/>
                      <a:pt x="611025" y="172310"/>
                    </a:cubicBezTo>
                    <a:cubicBezTo>
                      <a:pt x="621724" y="177999"/>
                      <a:pt x="630282" y="183687"/>
                      <a:pt x="635275" y="187954"/>
                    </a:cubicBezTo>
                    <a:cubicBezTo>
                      <a:pt x="639554" y="192220"/>
                      <a:pt x="642407" y="197198"/>
                      <a:pt x="645260" y="202886"/>
                    </a:cubicBezTo>
                    <a:cubicBezTo>
                      <a:pt x="647400" y="209286"/>
                      <a:pt x="648826" y="214974"/>
                      <a:pt x="648826" y="222085"/>
                    </a:cubicBezTo>
                    <a:cubicBezTo>
                      <a:pt x="648826" y="232751"/>
                      <a:pt x="645973" y="241284"/>
                      <a:pt x="638841" y="249105"/>
                    </a:cubicBezTo>
                    <a:cubicBezTo>
                      <a:pt x="633135" y="256216"/>
                      <a:pt x="623150" y="261905"/>
                      <a:pt x="611739" y="264749"/>
                    </a:cubicBezTo>
                    <a:cubicBezTo>
                      <a:pt x="611739" y="288925"/>
                      <a:pt x="611739" y="288925"/>
                      <a:pt x="611739" y="288925"/>
                    </a:cubicBezTo>
                    <a:cubicBezTo>
                      <a:pt x="586062" y="288925"/>
                      <a:pt x="586062" y="288925"/>
                      <a:pt x="586062" y="288925"/>
                    </a:cubicBezTo>
                    <a:cubicBezTo>
                      <a:pt x="586062" y="266171"/>
                      <a:pt x="586062" y="266171"/>
                      <a:pt x="586062" y="266171"/>
                    </a:cubicBezTo>
                    <a:cubicBezTo>
                      <a:pt x="573224" y="266171"/>
                      <a:pt x="561813" y="261905"/>
                      <a:pt x="550401" y="254794"/>
                    </a:cubicBezTo>
                    <a:cubicBezTo>
                      <a:pt x="561813" y="229907"/>
                      <a:pt x="561813" y="229907"/>
                      <a:pt x="561813" y="229907"/>
                    </a:cubicBezTo>
                    <a:cubicBezTo>
                      <a:pt x="572511" y="237728"/>
                      <a:pt x="583923" y="241284"/>
                      <a:pt x="594621" y="241284"/>
                    </a:cubicBezTo>
                    <a:cubicBezTo>
                      <a:pt x="611739" y="241284"/>
                      <a:pt x="620297" y="235595"/>
                      <a:pt x="620297" y="224218"/>
                    </a:cubicBezTo>
                    <a:cubicBezTo>
                      <a:pt x="620297" y="218530"/>
                      <a:pt x="618158" y="213552"/>
                      <a:pt x="613878" y="208575"/>
                    </a:cubicBezTo>
                    <a:cubicBezTo>
                      <a:pt x="609599" y="203597"/>
                      <a:pt x="601040" y="197909"/>
                      <a:pt x="588915" y="191509"/>
                    </a:cubicBezTo>
                    <a:cubicBezTo>
                      <a:pt x="576791" y="185821"/>
                      <a:pt x="569658" y="180843"/>
                      <a:pt x="564666" y="177288"/>
                    </a:cubicBezTo>
                    <a:cubicBezTo>
                      <a:pt x="560386" y="172310"/>
                      <a:pt x="557533" y="168044"/>
                      <a:pt x="553967" y="162355"/>
                    </a:cubicBezTo>
                    <a:cubicBezTo>
                      <a:pt x="551828" y="156667"/>
                      <a:pt x="551114" y="150978"/>
                      <a:pt x="551114" y="144579"/>
                    </a:cubicBezTo>
                    <a:cubicBezTo>
                      <a:pt x="551114" y="133913"/>
                      <a:pt x="553967" y="125380"/>
                      <a:pt x="561100" y="118980"/>
                    </a:cubicBezTo>
                    <a:cubicBezTo>
                      <a:pt x="567519" y="111870"/>
                      <a:pt x="575364" y="106892"/>
                      <a:pt x="586062" y="104048"/>
                    </a:cubicBezTo>
                    <a:cubicBezTo>
                      <a:pt x="586062" y="84138"/>
                      <a:pt x="586062" y="84138"/>
                      <a:pt x="586062" y="84138"/>
                    </a:cubicBezTo>
                    <a:close/>
                    <a:moveTo>
                      <a:pt x="248776" y="31750"/>
                    </a:moveTo>
                    <a:cubicBezTo>
                      <a:pt x="248776" y="31750"/>
                      <a:pt x="248776" y="31750"/>
                      <a:pt x="248776" y="341312"/>
                    </a:cubicBezTo>
                    <a:cubicBezTo>
                      <a:pt x="248776" y="341312"/>
                      <a:pt x="248776" y="341312"/>
                      <a:pt x="947276" y="341312"/>
                    </a:cubicBezTo>
                    <a:cubicBezTo>
                      <a:pt x="947276" y="341312"/>
                      <a:pt x="947276" y="341312"/>
                      <a:pt x="947276" y="31750"/>
                    </a:cubicBezTo>
                    <a:cubicBezTo>
                      <a:pt x="947276" y="31750"/>
                      <a:pt x="947276" y="31750"/>
                      <a:pt x="248776" y="31750"/>
                    </a:cubicBezTo>
                    <a:close/>
                    <a:moveTo>
                      <a:pt x="226319" y="0"/>
                    </a:moveTo>
                    <a:cubicBezTo>
                      <a:pt x="969734" y="0"/>
                      <a:pt x="969734" y="0"/>
                      <a:pt x="969734" y="0"/>
                    </a:cubicBezTo>
                    <a:cubicBezTo>
                      <a:pt x="975452" y="0"/>
                      <a:pt x="979026" y="3574"/>
                      <a:pt x="979026" y="8576"/>
                    </a:cubicBezTo>
                    <a:cubicBezTo>
                      <a:pt x="979026" y="363771"/>
                      <a:pt x="979026" y="363771"/>
                      <a:pt x="979026" y="363771"/>
                    </a:cubicBezTo>
                    <a:cubicBezTo>
                      <a:pt x="979026" y="368774"/>
                      <a:pt x="975452" y="373062"/>
                      <a:pt x="969734" y="373062"/>
                    </a:cubicBezTo>
                    <a:cubicBezTo>
                      <a:pt x="226319" y="373062"/>
                      <a:pt x="226319" y="373062"/>
                      <a:pt x="226319" y="373062"/>
                    </a:cubicBezTo>
                    <a:cubicBezTo>
                      <a:pt x="221315" y="373062"/>
                      <a:pt x="217026" y="368774"/>
                      <a:pt x="217026" y="363771"/>
                    </a:cubicBezTo>
                    <a:cubicBezTo>
                      <a:pt x="217026" y="8576"/>
                      <a:pt x="217026" y="8576"/>
                      <a:pt x="217026" y="8576"/>
                    </a:cubicBezTo>
                    <a:cubicBezTo>
                      <a:pt x="217026" y="3574"/>
                      <a:pt x="221315" y="0"/>
                      <a:pt x="22631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5" name="Group 24">
            <a:extLst>
              <a:ext uri="{FF2B5EF4-FFF2-40B4-BE49-F238E27FC236}">
                <a16:creationId xmlns:a16="http://schemas.microsoft.com/office/drawing/2014/main" id="{FEDEE22E-3994-4EED-A54B-ECAE2A3BAC2D}"/>
              </a:ext>
            </a:extLst>
          </p:cNvPr>
          <p:cNvGrpSpPr>
            <a:grpSpLocks noChangeAspect="1"/>
          </p:cNvGrpSpPr>
          <p:nvPr/>
        </p:nvGrpSpPr>
        <p:grpSpPr>
          <a:xfrm>
            <a:off x="400051" y="4120267"/>
            <a:ext cx="900759" cy="901594"/>
            <a:chOff x="5273802" y="2606040"/>
            <a:chExt cx="1644396" cy="1645920"/>
          </a:xfrm>
        </p:grpSpPr>
        <p:sp>
          <p:nvSpPr>
            <p:cNvPr id="26" name="AutoShape 18">
              <a:extLst>
                <a:ext uri="{FF2B5EF4-FFF2-40B4-BE49-F238E27FC236}">
                  <a16:creationId xmlns:a16="http://schemas.microsoft.com/office/drawing/2014/main" id="{633ED226-843B-48BF-864C-15C85FE90B1E}"/>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7" name="Group 26">
              <a:extLst>
                <a:ext uri="{FF2B5EF4-FFF2-40B4-BE49-F238E27FC236}">
                  <a16:creationId xmlns:a16="http://schemas.microsoft.com/office/drawing/2014/main" id="{1167ECF1-575E-450E-A2E5-4D8EE2D804B6}"/>
                </a:ext>
              </a:extLst>
            </p:cNvPr>
            <p:cNvGrpSpPr/>
            <p:nvPr/>
          </p:nvGrpSpPr>
          <p:grpSpPr>
            <a:xfrm>
              <a:off x="5560695" y="2747391"/>
              <a:ext cx="1069086" cy="1333881"/>
              <a:chOff x="5560695" y="2747391"/>
              <a:chExt cx="1069086" cy="1333881"/>
            </a:xfrm>
          </p:grpSpPr>
          <p:sp>
            <p:nvSpPr>
              <p:cNvPr id="28" name="Freeform 20">
                <a:extLst>
                  <a:ext uri="{FF2B5EF4-FFF2-40B4-BE49-F238E27FC236}">
                    <a16:creationId xmlns:a16="http://schemas.microsoft.com/office/drawing/2014/main" id="{BF85A550-BF3C-4B99-BFBE-A61C488EF43D}"/>
                  </a:ext>
                </a:extLst>
              </p:cNvPr>
              <p:cNvSpPr>
                <a:spLocks noEditPoints="1"/>
              </p:cNvSpPr>
              <p:nvPr/>
            </p:nvSpPr>
            <p:spPr bwMode="auto">
              <a:xfrm>
                <a:off x="5560695" y="2747391"/>
                <a:ext cx="1069086" cy="1333881"/>
              </a:xfrm>
              <a:custGeom>
                <a:avLst/>
                <a:gdLst>
                  <a:gd name="T0" fmla="*/ 1413 w 1498"/>
                  <a:gd name="T1" fmla="*/ 1743 h 1867"/>
                  <a:gd name="T2" fmla="*/ 1392 w 1498"/>
                  <a:gd name="T3" fmla="*/ 1693 h 1867"/>
                  <a:gd name="T4" fmla="*/ 85 w 1498"/>
                  <a:gd name="T5" fmla="*/ 1714 h 1867"/>
                  <a:gd name="T6" fmla="*/ 22 w 1498"/>
                  <a:gd name="T7" fmla="*/ 1743 h 1867"/>
                  <a:gd name="T8" fmla="*/ 0 w 1498"/>
                  <a:gd name="T9" fmla="*/ 1846 h 1867"/>
                  <a:gd name="T10" fmla="*/ 1476 w 1498"/>
                  <a:gd name="T11" fmla="*/ 1867 h 1867"/>
                  <a:gd name="T12" fmla="*/ 1498 w 1498"/>
                  <a:gd name="T13" fmla="*/ 1765 h 1867"/>
                  <a:gd name="T14" fmla="*/ 516 w 1498"/>
                  <a:gd name="T15" fmla="*/ 179 h 1867"/>
                  <a:gd name="T16" fmla="*/ 526 w 1498"/>
                  <a:gd name="T17" fmla="*/ 654 h 1867"/>
                  <a:gd name="T18" fmla="*/ 978 w 1498"/>
                  <a:gd name="T19" fmla="*/ 645 h 1867"/>
                  <a:gd name="T20" fmla="*/ 968 w 1498"/>
                  <a:gd name="T21" fmla="*/ 169 h 1867"/>
                  <a:gd name="T22" fmla="*/ 516 w 1498"/>
                  <a:gd name="T23" fmla="*/ 179 h 1867"/>
                  <a:gd name="T24" fmla="*/ 794 w 1498"/>
                  <a:gd name="T25" fmla="*/ 455 h 1867"/>
                  <a:gd name="T26" fmla="*/ 705 w 1498"/>
                  <a:gd name="T27" fmla="*/ 557 h 1867"/>
                  <a:gd name="T28" fmla="*/ 603 w 1498"/>
                  <a:gd name="T29" fmla="*/ 455 h 1867"/>
                  <a:gd name="T30" fmla="*/ 705 w 1498"/>
                  <a:gd name="T31" fmla="*/ 366 h 1867"/>
                  <a:gd name="T32" fmla="*/ 794 w 1498"/>
                  <a:gd name="T33" fmla="*/ 263 h 1867"/>
                  <a:gd name="T34" fmla="*/ 897 w 1498"/>
                  <a:gd name="T35" fmla="*/ 366 h 1867"/>
                  <a:gd name="T36" fmla="*/ 1390 w 1498"/>
                  <a:gd name="T37" fmla="*/ 1650 h 1867"/>
                  <a:gd name="T38" fmla="*/ 1346 w 1498"/>
                  <a:gd name="T39" fmla="*/ 1303 h 1867"/>
                  <a:gd name="T40" fmla="*/ 152 w 1498"/>
                  <a:gd name="T41" fmla="*/ 1650 h 1867"/>
                  <a:gd name="T42" fmla="*/ 108 w 1498"/>
                  <a:gd name="T43" fmla="*/ 1281 h 1867"/>
                  <a:gd name="T44" fmla="*/ 1368 w 1498"/>
                  <a:gd name="T45" fmla="*/ 1259 h 1867"/>
                  <a:gd name="T46" fmla="*/ 1390 w 1498"/>
                  <a:gd name="T47" fmla="*/ 1650 h 1867"/>
                  <a:gd name="T48" fmla="*/ 1281 w 1498"/>
                  <a:gd name="T49" fmla="*/ 71 h 1867"/>
                  <a:gd name="T50" fmla="*/ 1221 w 1498"/>
                  <a:gd name="T51" fmla="*/ 0 h 1867"/>
                  <a:gd name="T52" fmla="*/ 259 w 1498"/>
                  <a:gd name="T53" fmla="*/ 9 h 1867"/>
                  <a:gd name="T54" fmla="*/ 154 w 1498"/>
                  <a:gd name="T55" fmla="*/ 71 h 1867"/>
                  <a:gd name="T56" fmla="*/ 132 w 1498"/>
                  <a:gd name="T57" fmla="*/ 156 h 1867"/>
                  <a:gd name="T58" fmla="*/ 165 w 1498"/>
                  <a:gd name="T59" fmla="*/ 178 h 1867"/>
                  <a:gd name="T60" fmla="*/ 209 w 1498"/>
                  <a:gd name="T61" fmla="*/ 1217 h 1867"/>
                  <a:gd name="T62" fmla="*/ 187 w 1498"/>
                  <a:gd name="T63" fmla="*/ 134 h 1867"/>
                  <a:gd name="T64" fmla="*/ 176 w 1498"/>
                  <a:gd name="T65" fmla="*/ 115 h 1867"/>
                  <a:gd name="T66" fmla="*/ 1322 w 1498"/>
                  <a:gd name="T67" fmla="*/ 134 h 1867"/>
                  <a:gd name="T68" fmla="*/ 1289 w 1498"/>
                  <a:gd name="T69" fmla="*/ 156 h 1867"/>
                  <a:gd name="T70" fmla="*/ 1333 w 1498"/>
                  <a:gd name="T71" fmla="*/ 1217 h 1867"/>
                  <a:gd name="T72" fmla="*/ 1344 w 1498"/>
                  <a:gd name="T73" fmla="*/ 178 h 1867"/>
                  <a:gd name="T74" fmla="*/ 1366 w 1498"/>
                  <a:gd name="T75" fmla="*/ 93 h 1867"/>
                  <a:gd name="T76" fmla="*/ 288 w 1498"/>
                  <a:gd name="T77" fmla="*/ 44 h 1867"/>
                  <a:gd name="T78" fmla="*/ 1228 w 1498"/>
                  <a:gd name="T79" fmla="*/ 71 h 1867"/>
                  <a:gd name="T80" fmla="*/ 288 w 1498"/>
                  <a:gd name="T81"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8" h="1867">
                    <a:moveTo>
                      <a:pt x="1476" y="1743"/>
                    </a:moveTo>
                    <a:cubicBezTo>
                      <a:pt x="1413" y="1743"/>
                      <a:pt x="1413" y="1743"/>
                      <a:pt x="1413" y="1743"/>
                    </a:cubicBezTo>
                    <a:cubicBezTo>
                      <a:pt x="1413" y="1714"/>
                      <a:pt x="1413" y="1714"/>
                      <a:pt x="1413" y="1714"/>
                    </a:cubicBezTo>
                    <a:cubicBezTo>
                      <a:pt x="1413" y="1702"/>
                      <a:pt x="1403" y="1693"/>
                      <a:pt x="139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476" y="1867"/>
                      <a:pt x="1476" y="1867"/>
                      <a:pt x="1476" y="1867"/>
                    </a:cubicBezTo>
                    <a:cubicBezTo>
                      <a:pt x="1488" y="1867"/>
                      <a:pt x="1498" y="1858"/>
                      <a:pt x="1498" y="1846"/>
                    </a:cubicBezTo>
                    <a:cubicBezTo>
                      <a:pt x="1498" y="1765"/>
                      <a:pt x="1498" y="1765"/>
                      <a:pt x="1498" y="1765"/>
                    </a:cubicBezTo>
                    <a:cubicBezTo>
                      <a:pt x="1498" y="1753"/>
                      <a:pt x="1488" y="1743"/>
                      <a:pt x="1476" y="1743"/>
                    </a:cubicBezTo>
                    <a:close/>
                    <a:moveTo>
                      <a:pt x="516" y="179"/>
                    </a:moveTo>
                    <a:cubicBezTo>
                      <a:pt x="516" y="645"/>
                      <a:pt x="516" y="645"/>
                      <a:pt x="516" y="645"/>
                    </a:cubicBezTo>
                    <a:cubicBezTo>
                      <a:pt x="516" y="650"/>
                      <a:pt x="520" y="654"/>
                      <a:pt x="526" y="654"/>
                    </a:cubicBezTo>
                    <a:cubicBezTo>
                      <a:pt x="968" y="654"/>
                      <a:pt x="968" y="654"/>
                      <a:pt x="968" y="654"/>
                    </a:cubicBezTo>
                    <a:cubicBezTo>
                      <a:pt x="974" y="654"/>
                      <a:pt x="978" y="650"/>
                      <a:pt x="978" y="645"/>
                    </a:cubicBezTo>
                    <a:cubicBezTo>
                      <a:pt x="978" y="179"/>
                      <a:pt x="978" y="179"/>
                      <a:pt x="978" y="179"/>
                    </a:cubicBezTo>
                    <a:cubicBezTo>
                      <a:pt x="978" y="173"/>
                      <a:pt x="974" y="169"/>
                      <a:pt x="968" y="169"/>
                    </a:cubicBezTo>
                    <a:cubicBezTo>
                      <a:pt x="526" y="169"/>
                      <a:pt x="526" y="169"/>
                      <a:pt x="526" y="169"/>
                    </a:cubicBezTo>
                    <a:cubicBezTo>
                      <a:pt x="520" y="169"/>
                      <a:pt x="516" y="173"/>
                      <a:pt x="516" y="179"/>
                    </a:cubicBezTo>
                    <a:close/>
                    <a:moveTo>
                      <a:pt x="897" y="455"/>
                    </a:moveTo>
                    <a:cubicBezTo>
                      <a:pt x="794" y="455"/>
                      <a:pt x="794" y="455"/>
                      <a:pt x="794" y="455"/>
                    </a:cubicBezTo>
                    <a:cubicBezTo>
                      <a:pt x="794" y="557"/>
                      <a:pt x="794" y="557"/>
                      <a:pt x="794" y="557"/>
                    </a:cubicBezTo>
                    <a:cubicBezTo>
                      <a:pt x="705" y="557"/>
                      <a:pt x="705" y="557"/>
                      <a:pt x="705" y="557"/>
                    </a:cubicBezTo>
                    <a:cubicBezTo>
                      <a:pt x="705" y="455"/>
                      <a:pt x="705" y="455"/>
                      <a:pt x="705" y="455"/>
                    </a:cubicBezTo>
                    <a:cubicBezTo>
                      <a:pt x="603" y="455"/>
                      <a:pt x="603" y="455"/>
                      <a:pt x="603" y="455"/>
                    </a:cubicBezTo>
                    <a:cubicBezTo>
                      <a:pt x="603" y="366"/>
                      <a:pt x="603" y="366"/>
                      <a:pt x="603" y="366"/>
                    </a:cubicBezTo>
                    <a:cubicBezTo>
                      <a:pt x="705" y="366"/>
                      <a:pt x="705" y="366"/>
                      <a:pt x="705" y="366"/>
                    </a:cubicBezTo>
                    <a:cubicBezTo>
                      <a:pt x="705" y="263"/>
                      <a:pt x="705" y="263"/>
                      <a:pt x="705" y="263"/>
                    </a:cubicBezTo>
                    <a:cubicBezTo>
                      <a:pt x="794" y="263"/>
                      <a:pt x="794" y="263"/>
                      <a:pt x="794" y="263"/>
                    </a:cubicBezTo>
                    <a:cubicBezTo>
                      <a:pt x="794" y="366"/>
                      <a:pt x="794" y="366"/>
                      <a:pt x="794" y="366"/>
                    </a:cubicBezTo>
                    <a:cubicBezTo>
                      <a:pt x="897" y="366"/>
                      <a:pt x="897" y="366"/>
                      <a:pt x="897" y="366"/>
                    </a:cubicBezTo>
                    <a:lnTo>
                      <a:pt x="897" y="455"/>
                    </a:lnTo>
                    <a:close/>
                    <a:moveTo>
                      <a:pt x="1390" y="1650"/>
                    </a:moveTo>
                    <a:cubicBezTo>
                      <a:pt x="1346" y="1650"/>
                      <a:pt x="1346" y="1650"/>
                      <a:pt x="1346" y="1650"/>
                    </a:cubicBezTo>
                    <a:cubicBezTo>
                      <a:pt x="1346" y="1303"/>
                      <a:pt x="1346" y="1303"/>
                      <a:pt x="1346" y="1303"/>
                    </a:cubicBezTo>
                    <a:cubicBezTo>
                      <a:pt x="152" y="1303"/>
                      <a:pt x="152" y="1303"/>
                      <a:pt x="152" y="1303"/>
                    </a:cubicBezTo>
                    <a:cubicBezTo>
                      <a:pt x="152" y="1650"/>
                      <a:pt x="152" y="1650"/>
                      <a:pt x="152" y="1650"/>
                    </a:cubicBezTo>
                    <a:cubicBezTo>
                      <a:pt x="108" y="1650"/>
                      <a:pt x="108" y="1650"/>
                      <a:pt x="108" y="1650"/>
                    </a:cubicBezTo>
                    <a:cubicBezTo>
                      <a:pt x="108" y="1281"/>
                      <a:pt x="108" y="1281"/>
                      <a:pt x="108" y="1281"/>
                    </a:cubicBezTo>
                    <a:cubicBezTo>
                      <a:pt x="108" y="1269"/>
                      <a:pt x="117" y="1259"/>
                      <a:pt x="130" y="1259"/>
                    </a:cubicBezTo>
                    <a:cubicBezTo>
                      <a:pt x="1368" y="1259"/>
                      <a:pt x="1368" y="1259"/>
                      <a:pt x="1368" y="1259"/>
                    </a:cubicBezTo>
                    <a:cubicBezTo>
                      <a:pt x="1381" y="1259"/>
                      <a:pt x="1390" y="1269"/>
                      <a:pt x="1390" y="1281"/>
                    </a:cubicBezTo>
                    <a:lnTo>
                      <a:pt x="1390" y="1650"/>
                    </a:lnTo>
                    <a:close/>
                    <a:moveTo>
                      <a:pt x="1344" y="71"/>
                    </a:moveTo>
                    <a:cubicBezTo>
                      <a:pt x="1281" y="71"/>
                      <a:pt x="1281" y="71"/>
                      <a:pt x="1281" y="71"/>
                    </a:cubicBezTo>
                    <a:cubicBezTo>
                      <a:pt x="1239" y="9"/>
                      <a:pt x="1239" y="9"/>
                      <a:pt x="1239" y="9"/>
                    </a:cubicBezTo>
                    <a:cubicBezTo>
                      <a:pt x="1235" y="3"/>
                      <a:pt x="1228" y="0"/>
                      <a:pt x="1221" y="0"/>
                    </a:cubicBezTo>
                    <a:cubicBezTo>
                      <a:pt x="277" y="0"/>
                      <a:pt x="277" y="0"/>
                      <a:pt x="277" y="0"/>
                    </a:cubicBezTo>
                    <a:cubicBezTo>
                      <a:pt x="270" y="0"/>
                      <a:pt x="263" y="3"/>
                      <a:pt x="259" y="9"/>
                    </a:cubicBezTo>
                    <a:cubicBezTo>
                      <a:pt x="217" y="71"/>
                      <a:pt x="217" y="71"/>
                      <a:pt x="217" y="71"/>
                    </a:cubicBezTo>
                    <a:cubicBezTo>
                      <a:pt x="154" y="71"/>
                      <a:pt x="154" y="71"/>
                      <a:pt x="154" y="71"/>
                    </a:cubicBezTo>
                    <a:cubicBezTo>
                      <a:pt x="142" y="71"/>
                      <a:pt x="132" y="81"/>
                      <a:pt x="132" y="93"/>
                    </a:cubicBezTo>
                    <a:cubicBezTo>
                      <a:pt x="132" y="156"/>
                      <a:pt x="132" y="156"/>
                      <a:pt x="132" y="156"/>
                    </a:cubicBezTo>
                    <a:cubicBezTo>
                      <a:pt x="132" y="168"/>
                      <a:pt x="142" y="178"/>
                      <a:pt x="154" y="178"/>
                    </a:cubicBezTo>
                    <a:cubicBezTo>
                      <a:pt x="165" y="178"/>
                      <a:pt x="165" y="178"/>
                      <a:pt x="165" y="178"/>
                    </a:cubicBezTo>
                    <a:cubicBezTo>
                      <a:pt x="165" y="1217"/>
                      <a:pt x="165" y="1217"/>
                      <a:pt x="165" y="1217"/>
                    </a:cubicBezTo>
                    <a:cubicBezTo>
                      <a:pt x="209" y="1217"/>
                      <a:pt x="209" y="1217"/>
                      <a:pt x="209" y="1217"/>
                    </a:cubicBezTo>
                    <a:cubicBezTo>
                      <a:pt x="209" y="156"/>
                      <a:pt x="209" y="156"/>
                      <a:pt x="209" y="156"/>
                    </a:cubicBezTo>
                    <a:cubicBezTo>
                      <a:pt x="209" y="144"/>
                      <a:pt x="199" y="134"/>
                      <a:pt x="187" y="134"/>
                    </a:cubicBezTo>
                    <a:cubicBezTo>
                      <a:pt x="176" y="134"/>
                      <a:pt x="176" y="134"/>
                      <a:pt x="176" y="134"/>
                    </a:cubicBezTo>
                    <a:cubicBezTo>
                      <a:pt x="176" y="115"/>
                      <a:pt x="176" y="115"/>
                      <a:pt x="176" y="115"/>
                    </a:cubicBezTo>
                    <a:cubicBezTo>
                      <a:pt x="1322" y="115"/>
                      <a:pt x="1322" y="115"/>
                      <a:pt x="1322" y="115"/>
                    </a:cubicBezTo>
                    <a:cubicBezTo>
                      <a:pt x="1322" y="134"/>
                      <a:pt x="1322" y="134"/>
                      <a:pt x="1322" y="134"/>
                    </a:cubicBezTo>
                    <a:cubicBezTo>
                      <a:pt x="1311" y="134"/>
                      <a:pt x="1311" y="134"/>
                      <a:pt x="1311" y="134"/>
                    </a:cubicBezTo>
                    <a:cubicBezTo>
                      <a:pt x="1299" y="134"/>
                      <a:pt x="1289" y="144"/>
                      <a:pt x="1289" y="156"/>
                    </a:cubicBezTo>
                    <a:cubicBezTo>
                      <a:pt x="1289" y="1217"/>
                      <a:pt x="1289" y="1217"/>
                      <a:pt x="1289" y="1217"/>
                    </a:cubicBezTo>
                    <a:cubicBezTo>
                      <a:pt x="1333" y="1217"/>
                      <a:pt x="1333" y="1217"/>
                      <a:pt x="1333" y="1217"/>
                    </a:cubicBezTo>
                    <a:cubicBezTo>
                      <a:pt x="1333" y="178"/>
                      <a:pt x="1333" y="178"/>
                      <a:pt x="1333" y="178"/>
                    </a:cubicBezTo>
                    <a:cubicBezTo>
                      <a:pt x="1344" y="178"/>
                      <a:pt x="1344" y="178"/>
                      <a:pt x="1344" y="178"/>
                    </a:cubicBezTo>
                    <a:cubicBezTo>
                      <a:pt x="1356" y="178"/>
                      <a:pt x="1366" y="168"/>
                      <a:pt x="1366" y="156"/>
                    </a:cubicBezTo>
                    <a:cubicBezTo>
                      <a:pt x="1366" y="93"/>
                      <a:pt x="1366" y="93"/>
                      <a:pt x="1366" y="93"/>
                    </a:cubicBezTo>
                    <a:cubicBezTo>
                      <a:pt x="1366" y="81"/>
                      <a:pt x="1356" y="71"/>
                      <a:pt x="1344" y="71"/>
                    </a:cubicBezTo>
                    <a:close/>
                    <a:moveTo>
                      <a:pt x="288" y="44"/>
                    </a:moveTo>
                    <a:cubicBezTo>
                      <a:pt x="1210" y="44"/>
                      <a:pt x="1210" y="44"/>
                      <a:pt x="1210" y="44"/>
                    </a:cubicBezTo>
                    <a:cubicBezTo>
                      <a:pt x="1228" y="71"/>
                      <a:pt x="1228" y="71"/>
                      <a:pt x="1228" y="71"/>
                    </a:cubicBezTo>
                    <a:cubicBezTo>
                      <a:pt x="270" y="71"/>
                      <a:pt x="270" y="71"/>
                      <a:pt x="270" y="71"/>
                    </a:cubicBezTo>
                    <a:lnTo>
                      <a:pt x="288" y="44"/>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21">
                <a:extLst>
                  <a:ext uri="{FF2B5EF4-FFF2-40B4-BE49-F238E27FC236}">
                    <a16:creationId xmlns:a16="http://schemas.microsoft.com/office/drawing/2014/main" id="{4B311FCA-881F-41EF-83F1-520E88F5DF15}"/>
                  </a:ext>
                </a:extLst>
              </p:cNvPr>
              <p:cNvSpPr>
                <a:spLocks noEditPoints="1"/>
              </p:cNvSpPr>
              <p:nvPr/>
            </p:nvSpPr>
            <p:spPr bwMode="auto">
              <a:xfrm>
                <a:off x="5788914" y="2868168"/>
                <a:ext cx="612648" cy="1058037"/>
              </a:xfrm>
              <a:custGeom>
                <a:avLst/>
                <a:gdLst>
                  <a:gd name="T0" fmla="*/ 137 w 858"/>
                  <a:gd name="T1" fmla="*/ 481 h 1481"/>
                  <a:gd name="T2" fmla="*/ 10 w 858"/>
                  <a:gd name="T3" fmla="*/ 491 h 1481"/>
                  <a:gd name="T4" fmla="*/ 0 w 858"/>
                  <a:gd name="T5" fmla="*/ 284 h 1481"/>
                  <a:gd name="T6" fmla="*/ 127 w 858"/>
                  <a:gd name="T7" fmla="*/ 274 h 1481"/>
                  <a:gd name="T8" fmla="*/ 127 w 858"/>
                  <a:gd name="T9" fmla="*/ 0 h 1481"/>
                  <a:gd name="T10" fmla="*/ 0 w 858"/>
                  <a:gd name="T11" fmla="*/ 10 h 1481"/>
                  <a:gd name="T12" fmla="*/ 10 w 858"/>
                  <a:gd name="T13" fmla="*/ 217 h 1481"/>
                  <a:gd name="T14" fmla="*/ 137 w 858"/>
                  <a:gd name="T15" fmla="*/ 207 h 1481"/>
                  <a:gd name="T16" fmla="*/ 127 w 858"/>
                  <a:gd name="T17" fmla="*/ 0 h 1481"/>
                  <a:gd name="T18" fmla="*/ 10 w 858"/>
                  <a:gd name="T19" fmla="*/ 548 h 1481"/>
                  <a:gd name="T20" fmla="*/ 0 w 858"/>
                  <a:gd name="T21" fmla="*/ 755 h 1481"/>
                  <a:gd name="T22" fmla="*/ 127 w 858"/>
                  <a:gd name="T23" fmla="*/ 765 h 1481"/>
                  <a:gd name="T24" fmla="*/ 137 w 858"/>
                  <a:gd name="T25" fmla="*/ 558 h 1481"/>
                  <a:gd name="T26" fmla="*/ 127 w 858"/>
                  <a:gd name="T27" fmla="*/ 822 h 1481"/>
                  <a:gd name="T28" fmla="*/ 0 w 858"/>
                  <a:gd name="T29" fmla="*/ 832 h 1481"/>
                  <a:gd name="T30" fmla="*/ 10 w 858"/>
                  <a:gd name="T31" fmla="*/ 1039 h 1481"/>
                  <a:gd name="T32" fmla="*/ 137 w 858"/>
                  <a:gd name="T33" fmla="*/ 1029 h 1481"/>
                  <a:gd name="T34" fmla="*/ 127 w 858"/>
                  <a:gd name="T35" fmla="*/ 822 h 1481"/>
                  <a:gd name="T36" fmla="*/ 206 w 858"/>
                  <a:gd name="T37" fmla="*/ 822 h 1481"/>
                  <a:gd name="T38" fmla="*/ 196 w 858"/>
                  <a:gd name="T39" fmla="*/ 1029 h 1481"/>
                  <a:gd name="T40" fmla="*/ 323 w 858"/>
                  <a:gd name="T41" fmla="*/ 1039 h 1481"/>
                  <a:gd name="T42" fmla="*/ 333 w 858"/>
                  <a:gd name="T43" fmla="*/ 832 h 1481"/>
                  <a:gd name="T44" fmla="*/ 323 w 858"/>
                  <a:gd name="T45" fmla="*/ 548 h 1481"/>
                  <a:gd name="T46" fmla="*/ 196 w 858"/>
                  <a:gd name="T47" fmla="*/ 558 h 1481"/>
                  <a:gd name="T48" fmla="*/ 206 w 858"/>
                  <a:gd name="T49" fmla="*/ 765 h 1481"/>
                  <a:gd name="T50" fmla="*/ 333 w 858"/>
                  <a:gd name="T51" fmla="*/ 755 h 1481"/>
                  <a:gd name="T52" fmla="*/ 323 w 858"/>
                  <a:gd name="T53" fmla="*/ 548 h 1481"/>
                  <a:gd name="T54" fmla="*/ 721 w 858"/>
                  <a:gd name="T55" fmla="*/ 481 h 1481"/>
                  <a:gd name="T56" fmla="*/ 848 w 858"/>
                  <a:gd name="T57" fmla="*/ 491 h 1481"/>
                  <a:gd name="T58" fmla="*/ 858 w 858"/>
                  <a:gd name="T59" fmla="*/ 284 h 1481"/>
                  <a:gd name="T60" fmla="*/ 731 w 858"/>
                  <a:gd name="T61" fmla="*/ 274 h 1481"/>
                  <a:gd name="T62" fmla="*/ 721 w 858"/>
                  <a:gd name="T63" fmla="*/ 10 h 1481"/>
                  <a:gd name="T64" fmla="*/ 731 w 858"/>
                  <a:gd name="T65" fmla="*/ 217 h 1481"/>
                  <a:gd name="T66" fmla="*/ 858 w 858"/>
                  <a:gd name="T67" fmla="*/ 207 h 1481"/>
                  <a:gd name="T68" fmla="*/ 848 w 858"/>
                  <a:gd name="T69" fmla="*/ 0 h 1481"/>
                  <a:gd name="T70" fmla="*/ 721 w 858"/>
                  <a:gd name="T71" fmla="*/ 10 h 1481"/>
                  <a:gd name="T72" fmla="*/ 721 w 858"/>
                  <a:gd name="T73" fmla="*/ 755 h 1481"/>
                  <a:gd name="T74" fmla="*/ 848 w 858"/>
                  <a:gd name="T75" fmla="*/ 765 h 1481"/>
                  <a:gd name="T76" fmla="*/ 858 w 858"/>
                  <a:gd name="T77" fmla="*/ 558 h 1481"/>
                  <a:gd name="T78" fmla="*/ 731 w 858"/>
                  <a:gd name="T79" fmla="*/ 548 h 1481"/>
                  <a:gd name="T80" fmla="*/ 721 w 858"/>
                  <a:gd name="T81" fmla="*/ 832 h 1481"/>
                  <a:gd name="T82" fmla="*/ 731 w 858"/>
                  <a:gd name="T83" fmla="*/ 1039 h 1481"/>
                  <a:gd name="T84" fmla="*/ 858 w 858"/>
                  <a:gd name="T85" fmla="*/ 1029 h 1481"/>
                  <a:gd name="T86" fmla="*/ 848 w 858"/>
                  <a:gd name="T87" fmla="*/ 822 h 1481"/>
                  <a:gd name="T88" fmla="*/ 721 w 858"/>
                  <a:gd name="T89" fmla="*/ 832 h 1481"/>
                  <a:gd name="T90" fmla="*/ 521 w 858"/>
                  <a:gd name="T91" fmla="*/ 1029 h 1481"/>
                  <a:gd name="T92" fmla="*/ 648 w 858"/>
                  <a:gd name="T93" fmla="*/ 1039 h 1481"/>
                  <a:gd name="T94" fmla="*/ 658 w 858"/>
                  <a:gd name="T95" fmla="*/ 832 h 1481"/>
                  <a:gd name="T96" fmla="*/ 531 w 858"/>
                  <a:gd name="T97" fmla="*/ 822 h 1481"/>
                  <a:gd name="T98" fmla="*/ 521 w 858"/>
                  <a:gd name="T99" fmla="*/ 558 h 1481"/>
                  <a:gd name="T100" fmla="*/ 531 w 858"/>
                  <a:gd name="T101" fmla="*/ 765 h 1481"/>
                  <a:gd name="T102" fmla="*/ 658 w 858"/>
                  <a:gd name="T103" fmla="*/ 755 h 1481"/>
                  <a:gd name="T104" fmla="*/ 648 w 858"/>
                  <a:gd name="T105" fmla="*/ 548 h 1481"/>
                  <a:gd name="T106" fmla="*/ 521 w 858"/>
                  <a:gd name="T107" fmla="*/ 558 h 1481"/>
                  <a:gd name="T108" fmla="*/ 409 w 858"/>
                  <a:gd name="T109" fmla="*/ 1197 h 1481"/>
                  <a:gd name="T110" fmla="*/ 126 w 858"/>
                  <a:gd name="T111" fmla="*/ 1187 h 1481"/>
                  <a:gd name="T112" fmla="*/ 116 w 858"/>
                  <a:gd name="T113" fmla="*/ 1471 h 1481"/>
                  <a:gd name="T114" fmla="*/ 399 w 858"/>
                  <a:gd name="T115" fmla="*/ 1481 h 1481"/>
                  <a:gd name="T116" fmla="*/ 742 w 858"/>
                  <a:gd name="T117" fmla="*/ 1471 h 1481"/>
                  <a:gd name="T118" fmla="*/ 732 w 858"/>
                  <a:gd name="T119" fmla="*/ 1187 h 1481"/>
                  <a:gd name="T120" fmla="*/ 449 w 858"/>
                  <a:gd name="T121" fmla="*/ 1197 h 1481"/>
                  <a:gd name="T122" fmla="*/ 459 w 858"/>
                  <a:gd name="T123" fmla="*/ 1481 h 1481"/>
                  <a:gd name="T124" fmla="*/ 742 w 858"/>
                  <a:gd name="T125" fmla="*/ 147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 h="1481">
                    <a:moveTo>
                      <a:pt x="137" y="284"/>
                    </a:moveTo>
                    <a:cubicBezTo>
                      <a:pt x="137" y="481"/>
                      <a:pt x="137" y="481"/>
                      <a:pt x="137" y="481"/>
                    </a:cubicBezTo>
                    <a:cubicBezTo>
                      <a:pt x="137" y="486"/>
                      <a:pt x="133" y="491"/>
                      <a:pt x="127" y="491"/>
                    </a:cubicBezTo>
                    <a:cubicBezTo>
                      <a:pt x="10" y="491"/>
                      <a:pt x="10" y="491"/>
                      <a:pt x="10" y="491"/>
                    </a:cubicBezTo>
                    <a:cubicBezTo>
                      <a:pt x="5" y="491"/>
                      <a:pt x="0" y="486"/>
                      <a:pt x="0" y="481"/>
                    </a:cubicBezTo>
                    <a:cubicBezTo>
                      <a:pt x="0" y="284"/>
                      <a:pt x="0" y="284"/>
                      <a:pt x="0" y="284"/>
                    </a:cubicBezTo>
                    <a:cubicBezTo>
                      <a:pt x="0" y="279"/>
                      <a:pt x="5" y="274"/>
                      <a:pt x="10" y="274"/>
                    </a:cubicBezTo>
                    <a:cubicBezTo>
                      <a:pt x="127" y="274"/>
                      <a:pt x="127" y="274"/>
                      <a:pt x="127" y="274"/>
                    </a:cubicBezTo>
                    <a:cubicBezTo>
                      <a:pt x="133" y="274"/>
                      <a:pt x="137" y="279"/>
                      <a:pt x="137" y="284"/>
                    </a:cubicBezTo>
                    <a:close/>
                    <a:moveTo>
                      <a:pt x="127" y="0"/>
                    </a:moveTo>
                    <a:cubicBezTo>
                      <a:pt x="10" y="0"/>
                      <a:pt x="10" y="0"/>
                      <a:pt x="10" y="0"/>
                    </a:cubicBezTo>
                    <a:cubicBezTo>
                      <a:pt x="5" y="0"/>
                      <a:pt x="0" y="5"/>
                      <a:pt x="0" y="10"/>
                    </a:cubicBezTo>
                    <a:cubicBezTo>
                      <a:pt x="0" y="207"/>
                      <a:pt x="0" y="207"/>
                      <a:pt x="0" y="207"/>
                    </a:cubicBezTo>
                    <a:cubicBezTo>
                      <a:pt x="0" y="213"/>
                      <a:pt x="5" y="217"/>
                      <a:pt x="10" y="217"/>
                    </a:cubicBezTo>
                    <a:cubicBezTo>
                      <a:pt x="127" y="217"/>
                      <a:pt x="127" y="217"/>
                      <a:pt x="127" y="217"/>
                    </a:cubicBezTo>
                    <a:cubicBezTo>
                      <a:pt x="133" y="217"/>
                      <a:pt x="137" y="213"/>
                      <a:pt x="137" y="207"/>
                    </a:cubicBezTo>
                    <a:cubicBezTo>
                      <a:pt x="137" y="10"/>
                      <a:pt x="137" y="10"/>
                      <a:pt x="137" y="10"/>
                    </a:cubicBezTo>
                    <a:cubicBezTo>
                      <a:pt x="137" y="5"/>
                      <a:pt x="133" y="0"/>
                      <a:pt x="127" y="0"/>
                    </a:cubicBezTo>
                    <a:close/>
                    <a:moveTo>
                      <a:pt x="127" y="548"/>
                    </a:moveTo>
                    <a:cubicBezTo>
                      <a:pt x="10" y="548"/>
                      <a:pt x="10" y="548"/>
                      <a:pt x="10" y="548"/>
                    </a:cubicBezTo>
                    <a:cubicBezTo>
                      <a:pt x="5" y="548"/>
                      <a:pt x="0" y="552"/>
                      <a:pt x="0" y="558"/>
                    </a:cubicBezTo>
                    <a:cubicBezTo>
                      <a:pt x="0" y="755"/>
                      <a:pt x="0" y="755"/>
                      <a:pt x="0" y="755"/>
                    </a:cubicBezTo>
                    <a:cubicBezTo>
                      <a:pt x="0" y="760"/>
                      <a:pt x="5" y="765"/>
                      <a:pt x="10" y="765"/>
                    </a:cubicBezTo>
                    <a:cubicBezTo>
                      <a:pt x="127" y="765"/>
                      <a:pt x="127" y="765"/>
                      <a:pt x="127" y="765"/>
                    </a:cubicBezTo>
                    <a:cubicBezTo>
                      <a:pt x="133" y="765"/>
                      <a:pt x="137" y="760"/>
                      <a:pt x="137" y="755"/>
                    </a:cubicBezTo>
                    <a:cubicBezTo>
                      <a:pt x="137" y="558"/>
                      <a:pt x="137" y="558"/>
                      <a:pt x="137" y="558"/>
                    </a:cubicBezTo>
                    <a:cubicBezTo>
                      <a:pt x="137" y="552"/>
                      <a:pt x="133" y="548"/>
                      <a:pt x="127" y="548"/>
                    </a:cubicBezTo>
                    <a:close/>
                    <a:moveTo>
                      <a:pt x="127" y="822"/>
                    </a:moveTo>
                    <a:cubicBezTo>
                      <a:pt x="10" y="822"/>
                      <a:pt x="10" y="822"/>
                      <a:pt x="10" y="822"/>
                    </a:cubicBezTo>
                    <a:cubicBezTo>
                      <a:pt x="5" y="822"/>
                      <a:pt x="0" y="826"/>
                      <a:pt x="0" y="832"/>
                    </a:cubicBezTo>
                    <a:cubicBezTo>
                      <a:pt x="0" y="1029"/>
                      <a:pt x="0" y="1029"/>
                      <a:pt x="0" y="1029"/>
                    </a:cubicBezTo>
                    <a:cubicBezTo>
                      <a:pt x="0" y="1034"/>
                      <a:pt x="5" y="1039"/>
                      <a:pt x="10" y="1039"/>
                    </a:cubicBezTo>
                    <a:cubicBezTo>
                      <a:pt x="127" y="1039"/>
                      <a:pt x="127" y="1039"/>
                      <a:pt x="127" y="1039"/>
                    </a:cubicBezTo>
                    <a:cubicBezTo>
                      <a:pt x="133" y="1039"/>
                      <a:pt x="137" y="1034"/>
                      <a:pt x="137" y="1029"/>
                    </a:cubicBezTo>
                    <a:cubicBezTo>
                      <a:pt x="137" y="832"/>
                      <a:pt x="137" y="832"/>
                      <a:pt x="137" y="832"/>
                    </a:cubicBezTo>
                    <a:cubicBezTo>
                      <a:pt x="137" y="826"/>
                      <a:pt x="133" y="822"/>
                      <a:pt x="127" y="822"/>
                    </a:cubicBezTo>
                    <a:close/>
                    <a:moveTo>
                      <a:pt x="323" y="822"/>
                    </a:moveTo>
                    <a:cubicBezTo>
                      <a:pt x="206" y="822"/>
                      <a:pt x="206" y="822"/>
                      <a:pt x="206" y="822"/>
                    </a:cubicBezTo>
                    <a:cubicBezTo>
                      <a:pt x="200" y="822"/>
                      <a:pt x="196" y="826"/>
                      <a:pt x="196" y="832"/>
                    </a:cubicBezTo>
                    <a:cubicBezTo>
                      <a:pt x="196" y="1029"/>
                      <a:pt x="196" y="1029"/>
                      <a:pt x="196" y="1029"/>
                    </a:cubicBezTo>
                    <a:cubicBezTo>
                      <a:pt x="196" y="1034"/>
                      <a:pt x="200" y="1039"/>
                      <a:pt x="206" y="1039"/>
                    </a:cubicBezTo>
                    <a:cubicBezTo>
                      <a:pt x="323" y="1039"/>
                      <a:pt x="323" y="1039"/>
                      <a:pt x="323" y="1039"/>
                    </a:cubicBezTo>
                    <a:cubicBezTo>
                      <a:pt x="328" y="1039"/>
                      <a:pt x="333" y="1034"/>
                      <a:pt x="333" y="1029"/>
                    </a:cubicBezTo>
                    <a:cubicBezTo>
                      <a:pt x="333" y="832"/>
                      <a:pt x="333" y="832"/>
                      <a:pt x="333" y="832"/>
                    </a:cubicBezTo>
                    <a:cubicBezTo>
                      <a:pt x="333" y="826"/>
                      <a:pt x="328" y="822"/>
                      <a:pt x="323" y="822"/>
                    </a:cubicBezTo>
                    <a:close/>
                    <a:moveTo>
                      <a:pt x="323" y="548"/>
                    </a:moveTo>
                    <a:cubicBezTo>
                      <a:pt x="206" y="548"/>
                      <a:pt x="206" y="548"/>
                      <a:pt x="206" y="548"/>
                    </a:cubicBezTo>
                    <a:cubicBezTo>
                      <a:pt x="200" y="548"/>
                      <a:pt x="196" y="552"/>
                      <a:pt x="196" y="558"/>
                    </a:cubicBezTo>
                    <a:cubicBezTo>
                      <a:pt x="196" y="755"/>
                      <a:pt x="196" y="755"/>
                      <a:pt x="196" y="755"/>
                    </a:cubicBezTo>
                    <a:cubicBezTo>
                      <a:pt x="196" y="760"/>
                      <a:pt x="200" y="765"/>
                      <a:pt x="206" y="765"/>
                    </a:cubicBezTo>
                    <a:cubicBezTo>
                      <a:pt x="323" y="765"/>
                      <a:pt x="323" y="765"/>
                      <a:pt x="323" y="765"/>
                    </a:cubicBezTo>
                    <a:cubicBezTo>
                      <a:pt x="328" y="765"/>
                      <a:pt x="333" y="760"/>
                      <a:pt x="333" y="755"/>
                    </a:cubicBezTo>
                    <a:cubicBezTo>
                      <a:pt x="333" y="558"/>
                      <a:pt x="333" y="558"/>
                      <a:pt x="333" y="558"/>
                    </a:cubicBezTo>
                    <a:cubicBezTo>
                      <a:pt x="333" y="552"/>
                      <a:pt x="328" y="548"/>
                      <a:pt x="323" y="548"/>
                    </a:cubicBezTo>
                    <a:close/>
                    <a:moveTo>
                      <a:pt x="721" y="284"/>
                    </a:moveTo>
                    <a:cubicBezTo>
                      <a:pt x="721" y="481"/>
                      <a:pt x="721" y="481"/>
                      <a:pt x="721" y="481"/>
                    </a:cubicBezTo>
                    <a:cubicBezTo>
                      <a:pt x="721" y="486"/>
                      <a:pt x="725" y="491"/>
                      <a:pt x="731" y="491"/>
                    </a:cubicBezTo>
                    <a:cubicBezTo>
                      <a:pt x="848" y="491"/>
                      <a:pt x="848" y="491"/>
                      <a:pt x="848" y="491"/>
                    </a:cubicBezTo>
                    <a:cubicBezTo>
                      <a:pt x="853" y="491"/>
                      <a:pt x="858" y="486"/>
                      <a:pt x="858" y="481"/>
                    </a:cubicBezTo>
                    <a:cubicBezTo>
                      <a:pt x="858" y="284"/>
                      <a:pt x="858" y="284"/>
                      <a:pt x="858" y="284"/>
                    </a:cubicBezTo>
                    <a:cubicBezTo>
                      <a:pt x="858" y="279"/>
                      <a:pt x="853" y="274"/>
                      <a:pt x="848" y="274"/>
                    </a:cubicBezTo>
                    <a:cubicBezTo>
                      <a:pt x="731" y="274"/>
                      <a:pt x="731" y="274"/>
                      <a:pt x="731" y="274"/>
                    </a:cubicBezTo>
                    <a:cubicBezTo>
                      <a:pt x="725" y="274"/>
                      <a:pt x="721" y="279"/>
                      <a:pt x="721" y="284"/>
                    </a:cubicBezTo>
                    <a:close/>
                    <a:moveTo>
                      <a:pt x="721" y="10"/>
                    </a:moveTo>
                    <a:cubicBezTo>
                      <a:pt x="721" y="207"/>
                      <a:pt x="721" y="207"/>
                      <a:pt x="721" y="207"/>
                    </a:cubicBezTo>
                    <a:cubicBezTo>
                      <a:pt x="721" y="213"/>
                      <a:pt x="725" y="217"/>
                      <a:pt x="731" y="217"/>
                    </a:cubicBezTo>
                    <a:cubicBezTo>
                      <a:pt x="848" y="217"/>
                      <a:pt x="848" y="217"/>
                      <a:pt x="848" y="217"/>
                    </a:cubicBezTo>
                    <a:cubicBezTo>
                      <a:pt x="853" y="217"/>
                      <a:pt x="858" y="213"/>
                      <a:pt x="858" y="207"/>
                    </a:cubicBezTo>
                    <a:cubicBezTo>
                      <a:pt x="858" y="10"/>
                      <a:pt x="858" y="10"/>
                      <a:pt x="858" y="10"/>
                    </a:cubicBezTo>
                    <a:cubicBezTo>
                      <a:pt x="858" y="5"/>
                      <a:pt x="853" y="0"/>
                      <a:pt x="848" y="0"/>
                    </a:cubicBezTo>
                    <a:cubicBezTo>
                      <a:pt x="731" y="0"/>
                      <a:pt x="731" y="0"/>
                      <a:pt x="731" y="0"/>
                    </a:cubicBezTo>
                    <a:cubicBezTo>
                      <a:pt x="725" y="0"/>
                      <a:pt x="721" y="5"/>
                      <a:pt x="721" y="10"/>
                    </a:cubicBezTo>
                    <a:close/>
                    <a:moveTo>
                      <a:pt x="721" y="558"/>
                    </a:moveTo>
                    <a:cubicBezTo>
                      <a:pt x="721" y="755"/>
                      <a:pt x="721" y="755"/>
                      <a:pt x="721" y="755"/>
                    </a:cubicBezTo>
                    <a:cubicBezTo>
                      <a:pt x="721" y="760"/>
                      <a:pt x="725" y="765"/>
                      <a:pt x="731" y="765"/>
                    </a:cubicBezTo>
                    <a:cubicBezTo>
                      <a:pt x="848" y="765"/>
                      <a:pt x="848" y="765"/>
                      <a:pt x="848" y="765"/>
                    </a:cubicBezTo>
                    <a:cubicBezTo>
                      <a:pt x="853" y="765"/>
                      <a:pt x="858" y="760"/>
                      <a:pt x="858" y="755"/>
                    </a:cubicBezTo>
                    <a:cubicBezTo>
                      <a:pt x="858" y="558"/>
                      <a:pt x="858" y="558"/>
                      <a:pt x="858" y="558"/>
                    </a:cubicBezTo>
                    <a:cubicBezTo>
                      <a:pt x="858" y="552"/>
                      <a:pt x="853" y="548"/>
                      <a:pt x="848" y="548"/>
                    </a:cubicBezTo>
                    <a:cubicBezTo>
                      <a:pt x="731" y="548"/>
                      <a:pt x="731" y="548"/>
                      <a:pt x="731" y="548"/>
                    </a:cubicBezTo>
                    <a:cubicBezTo>
                      <a:pt x="725" y="548"/>
                      <a:pt x="721" y="552"/>
                      <a:pt x="721" y="558"/>
                    </a:cubicBezTo>
                    <a:close/>
                    <a:moveTo>
                      <a:pt x="721" y="832"/>
                    </a:moveTo>
                    <a:cubicBezTo>
                      <a:pt x="721" y="1029"/>
                      <a:pt x="721" y="1029"/>
                      <a:pt x="721" y="1029"/>
                    </a:cubicBezTo>
                    <a:cubicBezTo>
                      <a:pt x="721" y="1034"/>
                      <a:pt x="725" y="1039"/>
                      <a:pt x="731" y="1039"/>
                    </a:cubicBezTo>
                    <a:cubicBezTo>
                      <a:pt x="848" y="1039"/>
                      <a:pt x="848" y="1039"/>
                      <a:pt x="848" y="1039"/>
                    </a:cubicBezTo>
                    <a:cubicBezTo>
                      <a:pt x="853" y="1039"/>
                      <a:pt x="858" y="1034"/>
                      <a:pt x="858" y="1029"/>
                    </a:cubicBezTo>
                    <a:cubicBezTo>
                      <a:pt x="858" y="832"/>
                      <a:pt x="858" y="832"/>
                      <a:pt x="858" y="832"/>
                    </a:cubicBezTo>
                    <a:cubicBezTo>
                      <a:pt x="858" y="826"/>
                      <a:pt x="853" y="822"/>
                      <a:pt x="848" y="822"/>
                    </a:cubicBezTo>
                    <a:cubicBezTo>
                      <a:pt x="731" y="822"/>
                      <a:pt x="731" y="822"/>
                      <a:pt x="731" y="822"/>
                    </a:cubicBezTo>
                    <a:cubicBezTo>
                      <a:pt x="725" y="822"/>
                      <a:pt x="721" y="826"/>
                      <a:pt x="721" y="832"/>
                    </a:cubicBezTo>
                    <a:close/>
                    <a:moveTo>
                      <a:pt x="521" y="832"/>
                    </a:moveTo>
                    <a:cubicBezTo>
                      <a:pt x="521" y="1029"/>
                      <a:pt x="521" y="1029"/>
                      <a:pt x="521" y="1029"/>
                    </a:cubicBezTo>
                    <a:cubicBezTo>
                      <a:pt x="521" y="1034"/>
                      <a:pt x="526" y="1039"/>
                      <a:pt x="531" y="1039"/>
                    </a:cubicBezTo>
                    <a:cubicBezTo>
                      <a:pt x="648" y="1039"/>
                      <a:pt x="648" y="1039"/>
                      <a:pt x="648" y="1039"/>
                    </a:cubicBezTo>
                    <a:cubicBezTo>
                      <a:pt x="654" y="1039"/>
                      <a:pt x="658" y="1034"/>
                      <a:pt x="658" y="1029"/>
                    </a:cubicBezTo>
                    <a:cubicBezTo>
                      <a:pt x="658" y="832"/>
                      <a:pt x="658" y="832"/>
                      <a:pt x="658" y="832"/>
                    </a:cubicBezTo>
                    <a:cubicBezTo>
                      <a:pt x="658" y="826"/>
                      <a:pt x="654" y="822"/>
                      <a:pt x="648" y="822"/>
                    </a:cubicBezTo>
                    <a:cubicBezTo>
                      <a:pt x="531" y="822"/>
                      <a:pt x="531" y="822"/>
                      <a:pt x="531" y="822"/>
                    </a:cubicBezTo>
                    <a:cubicBezTo>
                      <a:pt x="526" y="822"/>
                      <a:pt x="521" y="826"/>
                      <a:pt x="521" y="832"/>
                    </a:cubicBezTo>
                    <a:close/>
                    <a:moveTo>
                      <a:pt x="521" y="558"/>
                    </a:moveTo>
                    <a:cubicBezTo>
                      <a:pt x="521" y="755"/>
                      <a:pt x="521" y="755"/>
                      <a:pt x="521" y="755"/>
                    </a:cubicBezTo>
                    <a:cubicBezTo>
                      <a:pt x="521" y="760"/>
                      <a:pt x="526" y="765"/>
                      <a:pt x="531" y="765"/>
                    </a:cubicBezTo>
                    <a:cubicBezTo>
                      <a:pt x="648" y="765"/>
                      <a:pt x="648" y="765"/>
                      <a:pt x="648" y="765"/>
                    </a:cubicBezTo>
                    <a:cubicBezTo>
                      <a:pt x="654" y="765"/>
                      <a:pt x="658" y="760"/>
                      <a:pt x="658" y="755"/>
                    </a:cubicBezTo>
                    <a:cubicBezTo>
                      <a:pt x="658" y="558"/>
                      <a:pt x="658" y="558"/>
                      <a:pt x="658" y="558"/>
                    </a:cubicBezTo>
                    <a:cubicBezTo>
                      <a:pt x="658" y="552"/>
                      <a:pt x="654" y="548"/>
                      <a:pt x="648" y="548"/>
                    </a:cubicBezTo>
                    <a:cubicBezTo>
                      <a:pt x="531" y="548"/>
                      <a:pt x="531" y="548"/>
                      <a:pt x="531" y="548"/>
                    </a:cubicBezTo>
                    <a:cubicBezTo>
                      <a:pt x="526" y="548"/>
                      <a:pt x="521" y="552"/>
                      <a:pt x="521" y="558"/>
                    </a:cubicBezTo>
                    <a:close/>
                    <a:moveTo>
                      <a:pt x="409" y="1471"/>
                    </a:moveTo>
                    <a:cubicBezTo>
                      <a:pt x="409" y="1197"/>
                      <a:pt x="409" y="1197"/>
                      <a:pt x="409" y="1197"/>
                    </a:cubicBezTo>
                    <a:cubicBezTo>
                      <a:pt x="409" y="1191"/>
                      <a:pt x="405" y="1187"/>
                      <a:pt x="399" y="1187"/>
                    </a:cubicBezTo>
                    <a:cubicBezTo>
                      <a:pt x="126" y="1187"/>
                      <a:pt x="126" y="1187"/>
                      <a:pt x="126" y="1187"/>
                    </a:cubicBezTo>
                    <a:cubicBezTo>
                      <a:pt x="121" y="1187"/>
                      <a:pt x="116" y="1191"/>
                      <a:pt x="116" y="1197"/>
                    </a:cubicBezTo>
                    <a:cubicBezTo>
                      <a:pt x="116" y="1471"/>
                      <a:pt x="116" y="1471"/>
                      <a:pt x="116" y="1471"/>
                    </a:cubicBezTo>
                    <a:cubicBezTo>
                      <a:pt x="116" y="1477"/>
                      <a:pt x="121" y="1481"/>
                      <a:pt x="126" y="1481"/>
                    </a:cubicBezTo>
                    <a:cubicBezTo>
                      <a:pt x="399" y="1481"/>
                      <a:pt x="399" y="1481"/>
                      <a:pt x="399" y="1481"/>
                    </a:cubicBezTo>
                    <a:cubicBezTo>
                      <a:pt x="405" y="1481"/>
                      <a:pt x="409" y="1477"/>
                      <a:pt x="409" y="1471"/>
                    </a:cubicBezTo>
                    <a:close/>
                    <a:moveTo>
                      <a:pt x="742" y="1471"/>
                    </a:moveTo>
                    <a:cubicBezTo>
                      <a:pt x="742" y="1197"/>
                      <a:pt x="742" y="1197"/>
                      <a:pt x="742" y="1197"/>
                    </a:cubicBezTo>
                    <a:cubicBezTo>
                      <a:pt x="742" y="1191"/>
                      <a:pt x="737" y="1187"/>
                      <a:pt x="732" y="1187"/>
                    </a:cubicBezTo>
                    <a:cubicBezTo>
                      <a:pt x="459" y="1187"/>
                      <a:pt x="459" y="1187"/>
                      <a:pt x="459" y="1187"/>
                    </a:cubicBezTo>
                    <a:cubicBezTo>
                      <a:pt x="453" y="1187"/>
                      <a:pt x="449" y="1191"/>
                      <a:pt x="449" y="1197"/>
                    </a:cubicBezTo>
                    <a:cubicBezTo>
                      <a:pt x="449" y="1471"/>
                      <a:pt x="449" y="1471"/>
                      <a:pt x="449" y="1471"/>
                    </a:cubicBezTo>
                    <a:cubicBezTo>
                      <a:pt x="449" y="1477"/>
                      <a:pt x="453" y="1481"/>
                      <a:pt x="459" y="1481"/>
                    </a:cubicBezTo>
                    <a:cubicBezTo>
                      <a:pt x="732" y="1481"/>
                      <a:pt x="732" y="1481"/>
                      <a:pt x="732" y="1481"/>
                    </a:cubicBezTo>
                    <a:cubicBezTo>
                      <a:pt x="737" y="1481"/>
                      <a:pt x="742" y="1477"/>
                      <a:pt x="742" y="1471"/>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0" name="Group 29">
            <a:extLst>
              <a:ext uri="{FF2B5EF4-FFF2-40B4-BE49-F238E27FC236}">
                <a16:creationId xmlns:a16="http://schemas.microsoft.com/office/drawing/2014/main" id="{F2514F61-0621-4ECC-BA7D-0BBF8BFF4B17}"/>
              </a:ext>
            </a:extLst>
          </p:cNvPr>
          <p:cNvGrpSpPr>
            <a:grpSpLocks noChangeAspect="1"/>
          </p:cNvGrpSpPr>
          <p:nvPr/>
        </p:nvGrpSpPr>
        <p:grpSpPr>
          <a:xfrm>
            <a:off x="400051" y="5318965"/>
            <a:ext cx="901594" cy="901594"/>
            <a:chOff x="5273675" y="2606675"/>
            <a:chExt cx="1644650" cy="1644650"/>
          </a:xfrm>
        </p:grpSpPr>
        <p:sp>
          <p:nvSpPr>
            <p:cNvPr id="31" name="AutoShape 3">
              <a:extLst>
                <a:ext uri="{FF2B5EF4-FFF2-40B4-BE49-F238E27FC236}">
                  <a16:creationId xmlns:a16="http://schemas.microsoft.com/office/drawing/2014/main" id="{1D289778-6191-44B8-909C-183FB671F60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2" name="Group 31">
              <a:extLst>
                <a:ext uri="{FF2B5EF4-FFF2-40B4-BE49-F238E27FC236}">
                  <a16:creationId xmlns:a16="http://schemas.microsoft.com/office/drawing/2014/main" id="{EA1F8E27-D7C7-4742-BECA-C3A7A2E408F8}"/>
                </a:ext>
              </a:extLst>
            </p:cNvPr>
            <p:cNvGrpSpPr/>
            <p:nvPr/>
          </p:nvGrpSpPr>
          <p:grpSpPr>
            <a:xfrm>
              <a:off x="5409664" y="2987061"/>
              <a:ext cx="1370550" cy="884852"/>
              <a:chOff x="5409664" y="2987061"/>
              <a:chExt cx="1370550" cy="884852"/>
            </a:xfrm>
          </p:grpSpPr>
          <p:sp>
            <p:nvSpPr>
              <p:cNvPr id="33" name="Freeform 5">
                <a:extLst>
                  <a:ext uri="{FF2B5EF4-FFF2-40B4-BE49-F238E27FC236}">
                    <a16:creationId xmlns:a16="http://schemas.microsoft.com/office/drawing/2014/main" id="{49549C6D-5A27-4663-9216-EC4B97A0008A}"/>
                  </a:ext>
                </a:extLst>
              </p:cNvPr>
              <p:cNvSpPr>
                <a:spLocks/>
              </p:cNvSpPr>
              <p:nvPr/>
            </p:nvSpPr>
            <p:spPr bwMode="auto">
              <a:xfrm>
                <a:off x="5409664" y="2987061"/>
                <a:ext cx="1370550" cy="884852"/>
              </a:xfrm>
              <a:custGeom>
                <a:avLst/>
                <a:gdLst>
                  <a:gd name="connsiteX0" fmla="*/ 444026 w 1370550"/>
                  <a:gd name="connsiteY0" fmla="*/ 770552 h 884852"/>
                  <a:gd name="connsiteX1" fmla="*/ 477941 w 1370550"/>
                  <a:gd name="connsiteY1" fmla="*/ 770552 h 884852"/>
                  <a:gd name="connsiteX2" fmla="*/ 477941 w 1370550"/>
                  <a:gd name="connsiteY2" fmla="*/ 773389 h 884852"/>
                  <a:gd name="connsiteX3" fmla="*/ 481549 w 1370550"/>
                  <a:gd name="connsiteY3" fmla="*/ 803890 h 884852"/>
                  <a:gd name="connsiteX4" fmla="*/ 441861 w 1370550"/>
                  <a:gd name="connsiteY4" fmla="*/ 803890 h 884852"/>
                  <a:gd name="connsiteX5" fmla="*/ 444026 w 1370550"/>
                  <a:gd name="connsiteY5" fmla="*/ 773389 h 884852"/>
                  <a:gd name="connsiteX6" fmla="*/ 444026 w 1370550"/>
                  <a:gd name="connsiteY6" fmla="*/ 770552 h 884852"/>
                  <a:gd name="connsiteX7" fmla="*/ 1110199 w 1370550"/>
                  <a:gd name="connsiteY7" fmla="*/ 694352 h 884852"/>
                  <a:gd name="connsiteX8" fmla="*/ 1030824 w 1370550"/>
                  <a:gd name="connsiteY8" fmla="*/ 773727 h 884852"/>
                  <a:gd name="connsiteX9" fmla="*/ 1110199 w 1370550"/>
                  <a:gd name="connsiteY9" fmla="*/ 853102 h 884852"/>
                  <a:gd name="connsiteX10" fmla="*/ 1189574 w 1370550"/>
                  <a:gd name="connsiteY10" fmla="*/ 773727 h 884852"/>
                  <a:gd name="connsiteX11" fmla="*/ 1110199 w 1370550"/>
                  <a:gd name="connsiteY11" fmla="*/ 694352 h 884852"/>
                  <a:gd name="connsiteX12" fmla="*/ 618073 w 1370550"/>
                  <a:gd name="connsiteY12" fmla="*/ 694352 h 884852"/>
                  <a:gd name="connsiteX13" fmla="*/ 538698 w 1370550"/>
                  <a:gd name="connsiteY13" fmla="*/ 773727 h 884852"/>
                  <a:gd name="connsiteX14" fmla="*/ 618073 w 1370550"/>
                  <a:gd name="connsiteY14" fmla="*/ 853102 h 884852"/>
                  <a:gd name="connsiteX15" fmla="*/ 697448 w 1370550"/>
                  <a:gd name="connsiteY15" fmla="*/ 773727 h 884852"/>
                  <a:gd name="connsiteX16" fmla="*/ 618073 w 1370550"/>
                  <a:gd name="connsiteY16" fmla="*/ 694352 h 884852"/>
                  <a:gd name="connsiteX17" fmla="*/ 302161 w 1370550"/>
                  <a:gd name="connsiteY17" fmla="*/ 694352 h 884852"/>
                  <a:gd name="connsiteX18" fmla="*/ 222786 w 1370550"/>
                  <a:gd name="connsiteY18" fmla="*/ 773727 h 884852"/>
                  <a:gd name="connsiteX19" fmla="*/ 302161 w 1370550"/>
                  <a:gd name="connsiteY19" fmla="*/ 853102 h 884852"/>
                  <a:gd name="connsiteX20" fmla="*/ 381536 w 1370550"/>
                  <a:gd name="connsiteY20" fmla="*/ 773727 h 884852"/>
                  <a:gd name="connsiteX21" fmla="*/ 302161 w 1370550"/>
                  <a:gd name="connsiteY21" fmla="*/ 694352 h 884852"/>
                  <a:gd name="connsiteX22" fmla="*/ 1110199 w 1370550"/>
                  <a:gd name="connsiteY22" fmla="*/ 661014 h 884852"/>
                  <a:gd name="connsiteX23" fmla="*/ 1221324 w 1370550"/>
                  <a:gd name="connsiteY23" fmla="*/ 772933 h 884852"/>
                  <a:gd name="connsiteX24" fmla="*/ 1110199 w 1370550"/>
                  <a:gd name="connsiteY24" fmla="*/ 884852 h 884852"/>
                  <a:gd name="connsiteX25" fmla="*/ 999074 w 1370550"/>
                  <a:gd name="connsiteY25" fmla="*/ 772933 h 884852"/>
                  <a:gd name="connsiteX26" fmla="*/ 1110199 w 1370550"/>
                  <a:gd name="connsiteY26" fmla="*/ 661014 h 884852"/>
                  <a:gd name="connsiteX27" fmla="*/ 618867 w 1370550"/>
                  <a:gd name="connsiteY27" fmla="*/ 661014 h 884852"/>
                  <a:gd name="connsiteX28" fmla="*/ 729199 w 1370550"/>
                  <a:gd name="connsiteY28" fmla="*/ 772933 h 884852"/>
                  <a:gd name="connsiteX29" fmla="*/ 618867 w 1370550"/>
                  <a:gd name="connsiteY29" fmla="*/ 884852 h 884852"/>
                  <a:gd name="connsiteX30" fmla="*/ 508535 w 1370550"/>
                  <a:gd name="connsiteY30" fmla="*/ 772933 h 884852"/>
                  <a:gd name="connsiteX31" fmla="*/ 618867 w 1370550"/>
                  <a:gd name="connsiteY31" fmla="*/ 661014 h 884852"/>
                  <a:gd name="connsiteX32" fmla="*/ 301011 w 1370550"/>
                  <a:gd name="connsiteY32" fmla="*/ 661014 h 884852"/>
                  <a:gd name="connsiteX33" fmla="*/ 411699 w 1370550"/>
                  <a:gd name="connsiteY33" fmla="*/ 772933 h 884852"/>
                  <a:gd name="connsiteX34" fmla="*/ 301011 w 1370550"/>
                  <a:gd name="connsiteY34" fmla="*/ 884852 h 884852"/>
                  <a:gd name="connsiteX35" fmla="*/ 191036 w 1370550"/>
                  <a:gd name="connsiteY35" fmla="*/ 772933 h 884852"/>
                  <a:gd name="connsiteX36" fmla="*/ 301011 w 1370550"/>
                  <a:gd name="connsiteY36" fmla="*/ 661014 h 884852"/>
                  <a:gd name="connsiteX37" fmla="*/ 483137 w 1370550"/>
                  <a:gd name="connsiteY37" fmla="*/ 281602 h 884852"/>
                  <a:gd name="connsiteX38" fmla="*/ 187862 w 1370550"/>
                  <a:gd name="connsiteY38" fmla="*/ 357802 h 884852"/>
                  <a:gd name="connsiteX39" fmla="*/ 483137 w 1370550"/>
                  <a:gd name="connsiteY39" fmla="*/ 357802 h 884852"/>
                  <a:gd name="connsiteX40" fmla="*/ 483137 w 1370550"/>
                  <a:gd name="connsiteY40" fmla="*/ 281602 h 884852"/>
                  <a:gd name="connsiteX41" fmla="*/ 127697 w 1370550"/>
                  <a:gd name="connsiteY41" fmla="*/ 264139 h 884852"/>
                  <a:gd name="connsiteX42" fmla="*/ 100550 w 1370550"/>
                  <a:gd name="connsiteY42" fmla="*/ 345102 h 884852"/>
                  <a:gd name="connsiteX43" fmla="*/ 200563 w 1370550"/>
                  <a:gd name="connsiteY43" fmla="*/ 319757 h 884852"/>
                  <a:gd name="connsiteX44" fmla="*/ 127697 w 1370550"/>
                  <a:gd name="connsiteY44" fmla="*/ 264139 h 884852"/>
                  <a:gd name="connsiteX45" fmla="*/ 567275 w 1370550"/>
                  <a:gd name="connsiteY45" fmla="*/ 262552 h 884852"/>
                  <a:gd name="connsiteX46" fmla="*/ 516475 w 1370550"/>
                  <a:gd name="connsiteY46" fmla="*/ 274636 h 884852"/>
                  <a:gd name="connsiteX47" fmla="*/ 516475 w 1370550"/>
                  <a:gd name="connsiteY47" fmla="*/ 357802 h 884852"/>
                  <a:gd name="connsiteX48" fmla="*/ 567275 w 1370550"/>
                  <a:gd name="connsiteY48" fmla="*/ 357802 h 884852"/>
                  <a:gd name="connsiteX49" fmla="*/ 567275 w 1370550"/>
                  <a:gd name="connsiteY49" fmla="*/ 262552 h 884852"/>
                  <a:gd name="connsiteX50" fmla="*/ 95788 w 1370550"/>
                  <a:gd name="connsiteY50" fmla="*/ 254614 h 884852"/>
                  <a:gd name="connsiteX51" fmla="*/ 33875 w 1370550"/>
                  <a:gd name="connsiteY51" fmla="*/ 273095 h 884852"/>
                  <a:gd name="connsiteX52" fmla="*/ 63053 w 1370550"/>
                  <a:gd name="connsiteY52" fmla="*/ 349864 h 884852"/>
                  <a:gd name="connsiteX53" fmla="*/ 95788 w 1370550"/>
                  <a:gd name="connsiteY53" fmla="*/ 254614 h 884852"/>
                  <a:gd name="connsiteX54" fmla="*/ 292257 w 1370550"/>
                  <a:gd name="connsiteY54" fmla="*/ 211752 h 884852"/>
                  <a:gd name="connsiteX55" fmla="*/ 262475 w 1370550"/>
                  <a:gd name="connsiteY55" fmla="*/ 303827 h 884852"/>
                  <a:gd name="connsiteX56" fmla="*/ 368838 w 1370550"/>
                  <a:gd name="connsiteY56" fmla="*/ 276704 h 884852"/>
                  <a:gd name="connsiteX57" fmla="*/ 292257 w 1370550"/>
                  <a:gd name="connsiteY57" fmla="*/ 211752 h 884852"/>
                  <a:gd name="connsiteX58" fmla="*/ 257712 w 1370550"/>
                  <a:gd name="connsiteY58" fmla="*/ 208577 h 884852"/>
                  <a:gd name="connsiteX59" fmla="*/ 149762 w 1370550"/>
                  <a:gd name="connsiteY59" fmla="*/ 239509 h 884852"/>
                  <a:gd name="connsiteX60" fmla="*/ 228401 w 1370550"/>
                  <a:gd name="connsiteY60" fmla="*/ 300652 h 884852"/>
                  <a:gd name="connsiteX61" fmla="*/ 257712 w 1370550"/>
                  <a:gd name="connsiteY61" fmla="*/ 208577 h 884852"/>
                  <a:gd name="connsiteX62" fmla="*/ 455918 w 1370550"/>
                  <a:gd name="connsiteY62" fmla="*/ 164127 h 884852"/>
                  <a:gd name="connsiteX63" fmla="*/ 424400 w 1370550"/>
                  <a:gd name="connsiteY63" fmla="*/ 264140 h 884852"/>
                  <a:gd name="connsiteX64" fmla="*/ 541875 w 1370550"/>
                  <a:gd name="connsiteY64" fmla="*/ 234640 h 884852"/>
                  <a:gd name="connsiteX65" fmla="*/ 455918 w 1370550"/>
                  <a:gd name="connsiteY65" fmla="*/ 164127 h 884852"/>
                  <a:gd name="connsiteX66" fmla="*/ 422812 w 1370550"/>
                  <a:gd name="connsiteY66" fmla="*/ 160952 h 884852"/>
                  <a:gd name="connsiteX67" fmla="*/ 318037 w 1370550"/>
                  <a:gd name="connsiteY67" fmla="*/ 191408 h 884852"/>
                  <a:gd name="connsiteX68" fmla="*/ 392671 w 1370550"/>
                  <a:gd name="connsiteY68" fmla="*/ 253027 h 884852"/>
                  <a:gd name="connsiteX69" fmla="*/ 422812 w 1370550"/>
                  <a:gd name="connsiteY69" fmla="*/ 160952 h 884852"/>
                  <a:gd name="connsiteX70" fmla="*/ 617017 w 1370550"/>
                  <a:gd name="connsiteY70" fmla="*/ 122852 h 884852"/>
                  <a:gd name="connsiteX71" fmla="*/ 602200 w 1370550"/>
                  <a:gd name="connsiteY71" fmla="*/ 219690 h 884852"/>
                  <a:gd name="connsiteX72" fmla="*/ 703800 w 1370550"/>
                  <a:gd name="connsiteY72" fmla="*/ 193344 h 884852"/>
                  <a:gd name="connsiteX73" fmla="*/ 617017 w 1370550"/>
                  <a:gd name="connsiteY73" fmla="*/ 122852 h 884852"/>
                  <a:gd name="connsiteX74" fmla="*/ 584737 w 1370550"/>
                  <a:gd name="connsiteY74" fmla="*/ 114914 h 884852"/>
                  <a:gd name="connsiteX75" fmla="*/ 483137 w 1370550"/>
                  <a:gd name="connsiteY75" fmla="*/ 144156 h 884852"/>
                  <a:gd name="connsiteX76" fmla="*/ 568996 w 1370550"/>
                  <a:gd name="connsiteY76" fmla="*/ 213339 h 884852"/>
                  <a:gd name="connsiteX77" fmla="*/ 584737 w 1370550"/>
                  <a:gd name="connsiteY77" fmla="*/ 114914 h 884852"/>
                  <a:gd name="connsiteX78" fmla="*/ 773297 w 1370550"/>
                  <a:gd name="connsiteY78" fmla="*/ 78402 h 884852"/>
                  <a:gd name="connsiteX79" fmla="*/ 757775 w 1370550"/>
                  <a:gd name="connsiteY79" fmla="*/ 180002 h 884852"/>
                  <a:gd name="connsiteX80" fmla="*/ 859375 w 1370550"/>
                  <a:gd name="connsiteY80" fmla="*/ 153714 h 884852"/>
                  <a:gd name="connsiteX81" fmla="*/ 773297 w 1370550"/>
                  <a:gd name="connsiteY81" fmla="*/ 78402 h 884852"/>
                  <a:gd name="connsiteX82" fmla="*/ 741900 w 1370550"/>
                  <a:gd name="connsiteY82" fmla="*/ 68877 h 884852"/>
                  <a:gd name="connsiteX83" fmla="*/ 640300 w 1370550"/>
                  <a:gd name="connsiteY83" fmla="*/ 97406 h 884852"/>
                  <a:gd name="connsiteX84" fmla="*/ 726159 w 1370550"/>
                  <a:gd name="connsiteY84" fmla="*/ 167302 h 884852"/>
                  <a:gd name="connsiteX85" fmla="*/ 741900 w 1370550"/>
                  <a:gd name="connsiteY85" fmla="*/ 68877 h 884852"/>
                  <a:gd name="connsiteX86" fmla="*/ 864903 w 1370550"/>
                  <a:gd name="connsiteY86" fmla="*/ 32364 h 884852"/>
                  <a:gd name="connsiteX87" fmla="*/ 794287 w 1370550"/>
                  <a:gd name="connsiteY87" fmla="*/ 53263 h 884852"/>
                  <a:gd name="connsiteX88" fmla="*/ 895887 w 1370550"/>
                  <a:gd name="connsiteY88" fmla="*/ 141902 h 884852"/>
                  <a:gd name="connsiteX89" fmla="*/ 864903 w 1370550"/>
                  <a:gd name="connsiteY89" fmla="*/ 32364 h 884852"/>
                  <a:gd name="connsiteX90" fmla="*/ 855486 w 1370550"/>
                  <a:gd name="connsiteY90" fmla="*/ 1170 h 884852"/>
                  <a:gd name="connsiteX91" fmla="*/ 880489 w 1370550"/>
                  <a:gd name="connsiteY91" fmla="*/ 4026 h 884852"/>
                  <a:gd name="connsiteX92" fmla="*/ 896205 w 1370550"/>
                  <a:gd name="connsiteY92" fmla="*/ 23309 h 884852"/>
                  <a:gd name="connsiteX93" fmla="*/ 928352 w 1370550"/>
                  <a:gd name="connsiteY93" fmla="*/ 134718 h 884852"/>
                  <a:gd name="connsiteX94" fmla="*/ 924780 w 1370550"/>
                  <a:gd name="connsiteY94" fmla="*/ 160428 h 884852"/>
                  <a:gd name="connsiteX95" fmla="*/ 904778 w 1370550"/>
                  <a:gd name="connsiteY95" fmla="*/ 176854 h 884852"/>
                  <a:gd name="connsiteX96" fmla="*/ 600454 w 1370550"/>
                  <a:gd name="connsiteY96" fmla="*/ 252555 h 884852"/>
                  <a:gd name="connsiteX97" fmla="*/ 600454 w 1370550"/>
                  <a:gd name="connsiteY97" fmla="*/ 357538 h 884852"/>
                  <a:gd name="connsiteX98" fmla="*/ 848342 w 1370550"/>
                  <a:gd name="connsiteY98" fmla="*/ 357538 h 884852"/>
                  <a:gd name="connsiteX99" fmla="*/ 848342 w 1370550"/>
                  <a:gd name="connsiteY99" fmla="*/ 327543 h 884852"/>
                  <a:gd name="connsiteX100" fmla="*/ 881203 w 1370550"/>
                  <a:gd name="connsiteY100" fmla="*/ 293977 h 884852"/>
                  <a:gd name="connsiteX101" fmla="*/ 1271252 w 1370550"/>
                  <a:gd name="connsiteY101" fmla="*/ 293977 h 884852"/>
                  <a:gd name="connsiteX102" fmla="*/ 1303399 w 1370550"/>
                  <a:gd name="connsiteY102" fmla="*/ 317544 h 884852"/>
                  <a:gd name="connsiteX103" fmla="*/ 1369121 w 1370550"/>
                  <a:gd name="connsiteY103" fmla="*/ 528223 h 884852"/>
                  <a:gd name="connsiteX104" fmla="*/ 1370550 w 1370550"/>
                  <a:gd name="connsiteY104" fmla="*/ 538221 h 884852"/>
                  <a:gd name="connsiteX105" fmla="*/ 1370550 w 1370550"/>
                  <a:gd name="connsiteY105" fmla="*/ 771039 h 884852"/>
                  <a:gd name="connsiteX106" fmla="*/ 1337689 w 1370550"/>
                  <a:gd name="connsiteY106" fmla="*/ 803890 h 884852"/>
                  <a:gd name="connsiteX107" fmla="*/ 1248392 w 1370550"/>
                  <a:gd name="connsiteY107" fmla="*/ 803890 h 884852"/>
                  <a:gd name="connsiteX108" fmla="*/ 1251964 w 1370550"/>
                  <a:gd name="connsiteY108" fmla="*/ 773181 h 884852"/>
                  <a:gd name="connsiteX109" fmla="*/ 1251964 w 1370550"/>
                  <a:gd name="connsiteY109" fmla="*/ 771039 h 884852"/>
                  <a:gd name="connsiteX110" fmla="*/ 1337689 w 1370550"/>
                  <a:gd name="connsiteY110" fmla="*/ 771039 h 884852"/>
                  <a:gd name="connsiteX111" fmla="*/ 1337689 w 1370550"/>
                  <a:gd name="connsiteY111" fmla="*/ 538221 h 884852"/>
                  <a:gd name="connsiteX112" fmla="*/ 1271252 w 1370550"/>
                  <a:gd name="connsiteY112" fmla="*/ 326828 h 884852"/>
                  <a:gd name="connsiteX113" fmla="*/ 881203 w 1370550"/>
                  <a:gd name="connsiteY113" fmla="*/ 326828 h 884852"/>
                  <a:gd name="connsiteX114" fmla="*/ 881203 w 1370550"/>
                  <a:gd name="connsiteY114" fmla="*/ 327543 h 884852"/>
                  <a:gd name="connsiteX115" fmla="*/ 881203 w 1370550"/>
                  <a:gd name="connsiteY115" fmla="*/ 357538 h 884852"/>
                  <a:gd name="connsiteX116" fmla="*/ 881203 w 1370550"/>
                  <a:gd name="connsiteY116" fmla="*/ 771039 h 884852"/>
                  <a:gd name="connsiteX117" fmla="*/ 967643 w 1370550"/>
                  <a:gd name="connsiteY117" fmla="*/ 771039 h 884852"/>
                  <a:gd name="connsiteX118" fmla="*/ 967643 w 1370550"/>
                  <a:gd name="connsiteY118" fmla="*/ 773181 h 884852"/>
                  <a:gd name="connsiteX119" fmla="*/ 971215 w 1370550"/>
                  <a:gd name="connsiteY119" fmla="*/ 803890 h 884852"/>
                  <a:gd name="connsiteX120" fmla="*/ 881203 w 1370550"/>
                  <a:gd name="connsiteY120" fmla="*/ 803890 h 884852"/>
                  <a:gd name="connsiteX121" fmla="*/ 757616 w 1370550"/>
                  <a:gd name="connsiteY121" fmla="*/ 803890 h 884852"/>
                  <a:gd name="connsiteX122" fmla="*/ 760474 w 1370550"/>
                  <a:gd name="connsiteY122" fmla="*/ 773181 h 884852"/>
                  <a:gd name="connsiteX123" fmla="*/ 760474 w 1370550"/>
                  <a:gd name="connsiteY123" fmla="*/ 771039 h 884852"/>
                  <a:gd name="connsiteX124" fmla="*/ 848342 w 1370550"/>
                  <a:gd name="connsiteY124" fmla="*/ 771039 h 884852"/>
                  <a:gd name="connsiteX125" fmla="*/ 848342 w 1370550"/>
                  <a:gd name="connsiteY125" fmla="*/ 390389 h 884852"/>
                  <a:gd name="connsiteX126" fmla="*/ 69673 w 1370550"/>
                  <a:gd name="connsiteY126" fmla="*/ 390389 h 884852"/>
                  <a:gd name="connsiteX127" fmla="*/ 69673 w 1370550"/>
                  <a:gd name="connsiteY127" fmla="*/ 771039 h 884852"/>
                  <a:gd name="connsiteX128" fmla="*/ 158970 w 1370550"/>
                  <a:gd name="connsiteY128" fmla="*/ 771039 h 884852"/>
                  <a:gd name="connsiteX129" fmla="*/ 158970 w 1370550"/>
                  <a:gd name="connsiteY129" fmla="*/ 773181 h 884852"/>
                  <a:gd name="connsiteX130" fmla="*/ 162542 w 1370550"/>
                  <a:gd name="connsiteY130" fmla="*/ 803890 h 884852"/>
                  <a:gd name="connsiteX131" fmla="*/ 69673 w 1370550"/>
                  <a:gd name="connsiteY131" fmla="*/ 803890 h 884852"/>
                  <a:gd name="connsiteX132" fmla="*/ 36812 w 1370550"/>
                  <a:gd name="connsiteY132" fmla="*/ 771039 h 884852"/>
                  <a:gd name="connsiteX133" fmla="*/ 36812 w 1370550"/>
                  <a:gd name="connsiteY133" fmla="*/ 390389 h 884852"/>
                  <a:gd name="connsiteX134" fmla="*/ 39670 w 1370550"/>
                  <a:gd name="connsiteY134" fmla="*/ 376820 h 884852"/>
                  <a:gd name="connsiteX135" fmla="*/ 33240 w 1370550"/>
                  <a:gd name="connsiteY135" fmla="*/ 365393 h 884852"/>
                  <a:gd name="connsiteX136" fmla="*/ 2522 w 1370550"/>
                  <a:gd name="connsiteY136" fmla="*/ 283979 h 884852"/>
                  <a:gd name="connsiteX137" fmla="*/ 3951 w 1370550"/>
                  <a:gd name="connsiteY137" fmla="*/ 257555 h 884852"/>
                  <a:gd name="connsiteX138" fmla="*/ 23953 w 1370550"/>
                  <a:gd name="connsiteY138" fmla="*/ 240415 h 884852"/>
                  <a:gd name="connsiteX139" fmla="*/ 599025 w 1370550"/>
                  <a:gd name="connsiteY139" fmla="*/ 74729 h 884852"/>
                  <a:gd name="connsiteX140" fmla="*/ 599740 w 1370550"/>
                  <a:gd name="connsiteY140" fmla="*/ 74729 h 884852"/>
                  <a:gd name="connsiteX141" fmla="*/ 600454 w 1370550"/>
                  <a:gd name="connsiteY141" fmla="*/ 74014 h 884852"/>
                  <a:gd name="connsiteX142" fmla="*/ 855486 w 1370550"/>
                  <a:gd name="connsiteY142" fmla="*/ 1170 h 88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70550" h="884852">
                    <a:moveTo>
                      <a:pt x="444026" y="770552"/>
                    </a:moveTo>
                    <a:cubicBezTo>
                      <a:pt x="466396" y="770552"/>
                      <a:pt x="475055" y="770552"/>
                      <a:pt x="477941" y="770552"/>
                    </a:cubicBezTo>
                    <a:cubicBezTo>
                      <a:pt x="477941" y="771261"/>
                      <a:pt x="477941" y="772680"/>
                      <a:pt x="477941" y="773389"/>
                    </a:cubicBezTo>
                    <a:cubicBezTo>
                      <a:pt x="477941" y="784029"/>
                      <a:pt x="479384" y="793960"/>
                      <a:pt x="481549" y="803890"/>
                    </a:cubicBezTo>
                    <a:cubicBezTo>
                      <a:pt x="455572" y="803890"/>
                      <a:pt x="445469" y="803890"/>
                      <a:pt x="441861" y="803890"/>
                    </a:cubicBezTo>
                    <a:cubicBezTo>
                      <a:pt x="444026" y="793960"/>
                      <a:pt x="444026" y="784029"/>
                      <a:pt x="444026" y="773389"/>
                    </a:cubicBezTo>
                    <a:cubicBezTo>
                      <a:pt x="444026" y="772680"/>
                      <a:pt x="444026" y="771261"/>
                      <a:pt x="444026" y="770552"/>
                    </a:cubicBezTo>
                    <a:close/>
                    <a:moveTo>
                      <a:pt x="1110199" y="694352"/>
                    </a:moveTo>
                    <a:cubicBezTo>
                      <a:pt x="1066361" y="694352"/>
                      <a:pt x="1030824" y="729889"/>
                      <a:pt x="1030824" y="773727"/>
                    </a:cubicBezTo>
                    <a:cubicBezTo>
                      <a:pt x="1030824" y="817565"/>
                      <a:pt x="1066361" y="853102"/>
                      <a:pt x="1110199" y="853102"/>
                    </a:cubicBezTo>
                    <a:cubicBezTo>
                      <a:pt x="1154037" y="853102"/>
                      <a:pt x="1189574" y="817565"/>
                      <a:pt x="1189574" y="773727"/>
                    </a:cubicBezTo>
                    <a:cubicBezTo>
                      <a:pt x="1189574" y="729889"/>
                      <a:pt x="1154037" y="694352"/>
                      <a:pt x="1110199" y="694352"/>
                    </a:cubicBezTo>
                    <a:close/>
                    <a:moveTo>
                      <a:pt x="618073" y="694352"/>
                    </a:moveTo>
                    <a:cubicBezTo>
                      <a:pt x="574235" y="694352"/>
                      <a:pt x="538698" y="729889"/>
                      <a:pt x="538698" y="773727"/>
                    </a:cubicBezTo>
                    <a:cubicBezTo>
                      <a:pt x="538698" y="817565"/>
                      <a:pt x="574235" y="853102"/>
                      <a:pt x="618073" y="853102"/>
                    </a:cubicBezTo>
                    <a:cubicBezTo>
                      <a:pt x="661911" y="853102"/>
                      <a:pt x="697448" y="817565"/>
                      <a:pt x="697448" y="773727"/>
                    </a:cubicBezTo>
                    <a:cubicBezTo>
                      <a:pt x="697448" y="729889"/>
                      <a:pt x="661911" y="694352"/>
                      <a:pt x="618073" y="694352"/>
                    </a:cubicBezTo>
                    <a:close/>
                    <a:moveTo>
                      <a:pt x="302161" y="694352"/>
                    </a:moveTo>
                    <a:cubicBezTo>
                      <a:pt x="258323" y="694352"/>
                      <a:pt x="222786" y="729889"/>
                      <a:pt x="222786" y="773727"/>
                    </a:cubicBezTo>
                    <a:cubicBezTo>
                      <a:pt x="222786" y="817565"/>
                      <a:pt x="258323" y="853102"/>
                      <a:pt x="302161" y="853102"/>
                    </a:cubicBezTo>
                    <a:cubicBezTo>
                      <a:pt x="345999" y="853102"/>
                      <a:pt x="381536" y="817565"/>
                      <a:pt x="381536" y="773727"/>
                    </a:cubicBezTo>
                    <a:cubicBezTo>
                      <a:pt x="381536" y="729889"/>
                      <a:pt x="345999" y="694352"/>
                      <a:pt x="302161" y="694352"/>
                    </a:cubicBezTo>
                    <a:close/>
                    <a:moveTo>
                      <a:pt x="1110199" y="661014"/>
                    </a:moveTo>
                    <a:cubicBezTo>
                      <a:pt x="1171572" y="661014"/>
                      <a:pt x="1221324" y="711122"/>
                      <a:pt x="1221324" y="772933"/>
                    </a:cubicBezTo>
                    <a:cubicBezTo>
                      <a:pt x="1221324" y="834744"/>
                      <a:pt x="1171572" y="884852"/>
                      <a:pt x="1110199" y="884852"/>
                    </a:cubicBezTo>
                    <a:cubicBezTo>
                      <a:pt x="1048826" y="884852"/>
                      <a:pt x="999074" y="834744"/>
                      <a:pt x="999074" y="772933"/>
                    </a:cubicBezTo>
                    <a:cubicBezTo>
                      <a:pt x="999074" y="711122"/>
                      <a:pt x="1048826" y="661014"/>
                      <a:pt x="1110199" y="661014"/>
                    </a:cubicBezTo>
                    <a:close/>
                    <a:moveTo>
                      <a:pt x="618867" y="661014"/>
                    </a:moveTo>
                    <a:cubicBezTo>
                      <a:pt x="679802" y="661014"/>
                      <a:pt x="729199" y="711122"/>
                      <a:pt x="729199" y="772933"/>
                    </a:cubicBezTo>
                    <a:cubicBezTo>
                      <a:pt x="729199" y="834744"/>
                      <a:pt x="679802" y="884852"/>
                      <a:pt x="618867" y="884852"/>
                    </a:cubicBezTo>
                    <a:cubicBezTo>
                      <a:pt x="557932" y="884852"/>
                      <a:pt x="508535" y="834744"/>
                      <a:pt x="508535" y="772933"/>
                    </a:cubicBezTo>
                    <a:cubicBezTo>
                      <a:pt x="508535" y="711122"/>
                      <a:pt x="557932" y="661014"/>
                      <a:pt x="618867" y="661014"/>
                    </a:cubicBezTo>
                    <a:close/>
                    <a:moveTo>
                      <a:pt x="301011" y="661014"/>
                    </a:moveTo>
                    <a:cubicBezTo>
                      <a:pt x="362425" y="661014"/>
                      <a:pt x="411699" y="711234"/>
                      <a:pt x="411699" y="772933"/>
                    </a:cubicBezTo>
                    <a:cubicBezTo>
                      <a:pt x="411699" y="834632"/>
                      <a:pt x="362425" y="884852"/>
                      <a:pt x="301011" y="884852"/>
                    </a:cubicBezTo>
                    <a:cubicBezTo>
                      <a:pt x="241025" y="884852"/>
                      <a:pt x="191036" y="834632"/>
                      <a:pt x="191036" y="772933"/>
                    </a:cubicBezTo>
                    <a:cubicBezTo>
                      <a:pt x="191036" y="711234"/>
                      <a:pt x="241025" y="661014"/>
                      <a:pt x="301011" y="661014"/>
                    </a:cubicBezTo>
                    <a:close/>
                    <a:moveTo>
                      <a:pt x="483137" y="281602"/>
                    </a:moveTo>
                    <a:cubicBezTo>
                      <a:pt x="187862" y="357802"/>
                      <a:pt x="187862" y="357802"/>
                      <a:pt x="187862" y="357802"/>
                    </a:cubicBezTo>
                    <a:cubicBezTo>
                      <a:pt x="187862" y="357802"/>
                      <a:pt x="187862" y="357802"/>
                      <a:pt x="483137" y="357802"/>
                    </a:cubicBezTo>
                    <a:cubicBezTo>
                      <a:pt x="483137" y="281602"/>
                      <a:pt x="483137" y="281602"/>
                      <a:pt x="483137" y="281602"/>
                    </a:cubicBezTo>
                    <a:close/>
                    <a:moveTo>
                      <a:pt x="127697" y="264139"/>
                    </a:moveTo>
                    <a:cubicBezTo>
                      <a:pt x="100550" y="345102"/>
                      <a:pt x="100550" y="345102"/>
                      <a:pt x="100550" y="345102"/>
                    </a:cubicBezTo>
                    <a:cubicBezTo>
                      <a:pt x="100550" y="345102"/>
                      <a:pt x="100550" y="345102"/>
                      <a:pt x="200563" y="319757"/>
                    </a:cubicBezTo>
                    <a:cubicBezTo>
                      <a:pt x="127697" y="264139"/>
                      <a:pt x="127697" y="264139"/>
                      <a:pt x="127697" y="264139"/>
                    </a:cubicBezTo>
                    <a:close/>
                    <a:moveTo>
                      <a:pt x="567275" y="262552"/>
                    </a:moveTo>
                    <a:cubicBezTo>
                      <a:pt x="516475" y="274636"/>
                      <a:pt x="516475" y="274636"/>
                      <a:pt x="516475" y="274636"/>
                    </a:cubicBezTo>
                    <a:cubicBezTo>
                      <a:pt x="516475" y="357802"/>
                      <a:pt x="516475" y="357802"/>
                      <a:pt x="516475" y="357802"/>
                    </a:cubicBezTo>
                    <a:cubicBezTo>
                      <a:pt x="567275" y="357802"/>
                      <a:pt x="567275" y="357802"/>
                      <a:pt x="567275" y="357802"/>
                    </a:cubicBezTo>
                    <a:cubicBezTo>
                      <a:pt x="567275" y="357802"/>
                      <a:pt x="567275" y="357802"/>
                      <a:pt x="567275" y="262552"/>
                    </a:cubicBezTo>
                    <a:close/>
                    <a:moveTo>
                      <a:pt x="95788" y="254614"/>
                    </a:moveTo>
                    <a:cubicBezTo>
                      <a:pt x="33875" y="273095"/>
                      <a:pt x="33875" y="273095"/>
                      <a:pt x="33875" y="273095"/>
                    </a:cubicBezTo>
                    <a:cubicBezTo>
                      <a:pt x="33875" y="273095"/>
                      <a:pt x="33875" y="273095"/>
                      <a:pt x="63053" y="349864"/>
                    </a:cubicBezTo>
                    <a:cubicBezTo>
                      <a:pt x="95788" y="254614"/>
                      <a:pt x="95788" y="254614"/>
                      <a:pt x="95788" y="254614"/>
                    </a:cubicBezTo>
                    <a:close/>
                    <a:moveTo>
                      <a:pt x="292257" y="211752"/>
                    </a:moveTo>
                    <a:cubicBezTo>
                      <a:pt x="262475" y="303827"/>
                      <a:pt x="262475" y="303827"/>
                      <a:pt x="262475" y="303827"/>
                    </a:cubicBezTo>
                    <a:cubicBezTo>
                      <a:pt x="368838" y="276704"/>
                      <a:pt x="368838" y="276704"/>
                      <a:pt x="368838" y="276704"/>
                    </a:cubicBezTo>
                    <a:cubicBezTo>
                      <a:pt x="368838" y="276704"/>
                      <a:pt x="368838" y="276704"/>
                      <a:pt x="292257" y="211752"/>
                    </a:cubicBezTo>
                    <a:close/>
                    <a:moveTo>
                      <a:pt x="257712" y="208577"/>
                    </a:moveTo>
                    <a:cubicBezTo>
                      <a:pt x="257712" y="208577"/>
                      <a:pt x="257712" y="208577"/>
                      <a:pt x="149762" y="239509"/>
                    </a:cubicBezTo>
                    <a:cubicBezTo>
                      <a:pt x="228401" y="300652"/>
                      <a:pt x="228401" y="300652"/>
                      <a:pt x="228401" y="300652"/>
                    </a:cubicBezTo>
                    <a:cubicBezTo>
                      <a:pt x="257712" y="208577"/>
                      <a:pt x="257712" y="208577"/>
                      <a:pt x="257712" y="208577"/>
                    </a:cubicBezTo>
                    <a:close/>
                    <a:moveTo>
                      <a:pt x="455918" y="164127"/>
                    </a:moveTo>
                    <a:cubicBezTo>
                      <a:pt x="424400" y="264140"/>
                      <a:pt x="424400" y="264140"/>
                      <a:pt x="424400" y="264140"/>
                    </a:cubicBezTo>
                    <a:cubicBezTo>
                      <a:pt x="541875" y="234640"/>
                      <a:pt x="541875" y="234640"/>
                      <a:pt x="541875" y="234640"/>
                    </a:cubicBezTo>
                    <a:cubicBezTo>
                      <a:pt x="541875" y="234640"/>
                      <a:pt x="541875" y="234640"/>
                      <a:pt x="455918" y="164127"/>
                    </a:cubicBezTo>
                    <a:close/>
                    <a:moveTo>
                      <a:pt x="422812" y="160952"/>
                    </a:moveTo>
                    <a:cubicBezTo>
                      <a:pt x="422812" y="160952"/>
                      <a:pt x="422812" y="160952"/>
                      <a:pt x="318037" y="191408"/>
                    </a:cubicBezTo>
                    <a:cubicBezTo>
                      <a:pt x="392671" y="253027"/>
                      <a:pt x="392671" y="253027"/>
                      <a:pt x="392671" y="253027"/>
                    </a:cubicBezTo>
                    <a:cubicBezTo>
                      <a:pt x="422812" y="160952"/>
                      <a:pt x="422812" y="160952"/>
                      <a:pt x="422812" y="160952"/>
                    </a:cubicBezTo>
                    <a:close/>
                    <a:moveTo>
                      <a:pt x="617017" y="122852"/>
                    </a:moveTo>
                    <a:cubicBezTo>
                      <a:pt x="602200" y="219690"/>
                      <a:pt x="602200" y="219690"/>
                      <a:pt x="602200" y="219690"/>
                    </a:cubicBezTo>
                    <a:cubicBezTo>
                      <a:pt x="602200" y="219690"/>
                      <a:pt x="602200" y="219690"/>
                      <a:pt x="703800" y="193344"/>
                    </a:cubicBezTo>
                    <a:cubicBezTo>
                      <a:pt x="617017" y="122852"/>
                      <a:pt x="617017" y="122852"/>
                      <a:pt x="617017" y="122852"/>
                    </a:cubicBezTo>
                    <a:close/>
                    <a:moveTo>
                      <a:pt x="584737" y="114914"/>
                    </a:moveTo>
                    <a:cubicBezTo>
                      <a:pt x="584737" y="114914"/>
                      <a:pt x="584737" y="114914"/>
                      <a:pt x="483137" y="144156"/>
                    </a:cubicBezTo>
                    <a:cubicBezTo>
                      <a:pt x="568996" y="213339"/>
                      <a:pt x="568996" y="213339"/>
                      <a:pt x="568996" y="213339"/>
                    </a:cubicBezTo>
                    <a:cubicBezTo>
                      <a:pt x="584737" y="114914"/>
                      <a:pt x="584737" y="114914"/>
                      <a:pt x="584737" y="114914"/>
                    </a:cubicBezTo>
                    <a:close/>
                    <a:moveTo>
                      <a:pt x="773297" y="78402"/>
                    </a:moveTo>
                    <a:cubicBezTo>
                      <a:pt x="757775" y="180002"/>
                      <a:pt x="757775" y="180002"/>
                      <a:pt x="757775" y="180002"/>
                    </a:cubicBezTo>
                    <a:cubicBezTo>
                      <a:pt x="757775" y="180002"/>
                      <a:pt x="757775" y="180002"/>
                      <a:pt x="859375" y="153714"/>
                    </a:cubicBezTo>
                    <a:cubicBezTo>
                      <a:pt x="773297" y="78402"/>
                      <a:pt x="773297" y="78402"/>
                      <a:pt x="773297" y="78402"/>
                    </a:cubicBezTo>
                    <a:close/>
                    <a:moveTo>
                      <a:pt x="741900" y="68877"/>
                    </a:moveTo>
                    <a:cubicBezTo>
                      <a:pt x="741900" y="68877"/>
                      <a:pt x="741900" y="68877"/>
                      <a:pt x="640300" y="97406"/>
                    </a:cubicBezTo>
                    <a:cubicBezTo>
                      <a:pt x="726159" y="167302"/>
                      <a:pt x="726159" y="167302"/>
                      <a:pt x="726159" y="167302"/>
                    </a:cubicBezTo>
                    <a:cubicBezTo>
                      <a:pt x="741900" y="68877"/>
                      <a:pt x="741900" y="68877"/>
                      <a:pt x="741900" y="68877"/>
                    </a:cubicBezTo>
                    <a:close/>
                    <a:moveTo>
                      <a:pt x="864903" y="32364"/>
                    </a:moveTo>
                    <a:cubicBezTo>
                      <a:pt x="794287" y="53263"/>
                      <a:pt x="794287" y="53263"/>
                      <a:pt x="794287" y="53263"/>
                    </a:cubicBezTo>
                    <a:cubicBezTo>
                      <a:pt x="895887" y="141902"/>
                      <a:pt x="895887" y="141902"/>
                      <a:pt x="895887" y="141902"/>
                    </a:cubicBezTo>
                    <a:cubicBezTo>
                      <a:pt x="895887" y="141902"/>
                      <a:pt x="895887" y="141902"/>
                      <a:pt x="864903" y="32364"/>
                    </a:cubicBezTo>
                    <a:close/>
                    <a:moveTo>
                      <a:pt x="855486" y="1170"/>
                    </a:moveTo>
                    <a:cubicBezTo>
                      <a:pt x="864058" y="-973"/>
                      <a:pt x="873345" y="-259"/>
                      <a:pt x="880489" y="4026"/>
                    </a:cubicBezTo>
                    <a:cubicBezTo>
                      <a:pt x="888347" y="8311"/>
                      <a:pt x="894062" y="15453"/>
                      <a:pt x="896205" y="23309"/>
                    </a:cubicBezTo>
                    <a:cubicBezTo>
                      <a:pt x="928352" y="134718"/>
                      <a:pt x="928352" y="134718"/>
                      <a:pt x="928352" y="134718"/>
                    </a:cubicBezTo>
                    <a:cubicBezTo>
                      <a:pt x="931210" y="143288"/>
                      <a:pt x="929781" y="153287"/>
                      <a:pt x="924780" y="160428"/>
                    </a:cubicBezTo>
                    <a:cubicBezTo>
                      <a:pt x="920494" y="168998"/>
                      <a:pt x="913350" y="173997"/>
                      <a:pt x="904778" y="176854"/>
                    </a:cubicBezTo>
                    <a:cubicBezTo>
                      <a:pt x="600454" y="252555"/>
                      <a:pt x="600454" y="252555"/>
                      <a:pt x="600454" y="252555"/>
                    </a:cubicBezTo>
                    <a:cubicBezTo>
                      <a:pt x="600454" y="357538"/>
                      <a:pt x="600454" y="357538"/>
                      <a:pt x="600454" y="357538"/>
                    </a:cubicBezTo>
                    <a:cubicBezTo>
                      <a:pt x="848342" y="357538"/>
                      <a:pt x="848342" y="357538"/>
                      <a:pt x="848342" y="357538"/>
                    </a:cubicBezTo>
                    <a:cubicBezTo>
                      <a:pt x="848342" y="327543"/>
                      <a:pt x="848342" y="327543"/>
                      <a:pt x="848342" y="327543"/>
                    </a:cubicBezTo>
                    <a:cubicBezTo>
                      <a:pt x="848342" y="308974"/>
                      <a:pt x="863344" y="293977"/>
                      <a:pt x="881203" y="293977"/>
                    </a:cubicBezTo>
                    <a:cubicBezTo>
                      <a:pt x="1271252" y="293977"/>
                      <a:pt x="1271252" y="293977"/>
                      <a:pt x="1271252" y="293977"/>
                    </a:cubicBezTo>
                    <a:cubicBezTo>
                      <a:pt x="1286254" y="293977"/>
                      <a:pt x="1298398" y="303975"/>
                      <a:pt x="1303399" y="317544"/>
                    </a:cubicBezTo>
                    <a:cubicBezTo>
                      <a:pt x="1369121" y="528223"/>
                      <a:pt x="1369121" y="528223"/>
                      <a:pt x="1369121" y="528223"/>
                    </a:cubicBezTo>
                    <a:cubicBezTo>
                      <a:pt x="1369836" y="531079"/>
                      <a:pt x="1370550" y="535364"/>
                      <a:pt x="1370550" y="538221"/>
                    </a:cubicBezTo>
                    <a:cubicBezTo>
                      <a:pt x="1370550" y="771039"/>
                      <a:pt x="1370550" y="771039"/>
                      <a:pt x="1370550" y="771039"/>
                    </a:cubicBezTo>
                    <a:cubicBezTo>
                      <a:pt x="1370550" y="789607"/>
                      <a:pt x="1355548" y="803890"/>
                      <a:pt x="1337689" y="803890"/>
                    </a:cubicBezTo>
                    <a:cubicBezTo>
                      <a:pt x="1276253" y="803890"/>
                      <a:pt x="1255536" y="803890"/>
                      <a:pt x="1248392" y="803890"/>
                    </a:cubicBezTo>
                    <a:cubicBezTo>
                      <a:pt x="1251250" y="793892"/>
                      <a:pt x="1251964" y="783894"/>
                      <a:pt x="1251964" y="773181"/>
                    </a:cubicBezTo>
                    <a:cubicBezTo>
                      <a:pt x="1251964" y="772467"/>
                      <a:pt x="1251964" y="771753"/>
                      <a:pt x="1251964" y="771039"/>
                    </a:cubicBezTo>
                    <a:cubicBezTo>
                      <a:pt x="1337689" y="771039"/>
                      <a:pt x="1337689" y="771039"/>
                      <a:pt x="1337689" y="771039"/>
                    </a:cubicBezTo>
                    <a:cubicBezTo>
                      <a:pt x="1337689" y="538221"/>
                      <a:pt x="1337689" y="538221"/>
                      <a:pt x="1337689" y="538221"/>
                    </a:cubicBezTo>
                    <a:cubicBezTo>
                      <a:pt x="1271252" y="326828"/>
                      <a:pt x="1271252" y="326828"/>
                      <a:pt x="1271252" y="326828"/>
                    </a:cubicBezTo>
                    <a:cubicBezTo>
                      <a:pt x="881203" y="326828"/>
                      <a:pt x="881203" y="326828"/>
                      <a:pt x="881203" y="326828"/>
                    </a:cubicBezTo>
                    <a:cubicBezTo>
                      <a:pt x="881203" y="327543"/>
                      <a:pt x="881203" y="327543"/>
                      <a:pt x="881203" y="327543"/>
                    </a:cubicBezTo>
                    <a:cubicBezTo>
                      <a:pt x="881203" y="357538"/>
                      <a:pt x="881203" y="357538"/>
                      <a:pt x="881203" y="357538"/>
                    </a:cubicBezTo>
                    <a:cubicBezTo>
                      <a:pt x="881203" y="771039"/>
                      <a:pt x="881203" y="771039"/>
                      <a:pt x="881203" y="771039"/>
                    </a:cubicBezTo>
                    <a:cubicBezTo>
                      <a:pt x="949069" y="771039"/>
                      <a:pt x="964071" y="771039"/>
                      <a:pt x="967643" y="771039"/>
                    </a:cubicBezTo>
                    <a:cubicBezTo>
                      <a:pt x="967643" y="771753"/>
                      <a:pt x="967643" y="772467"/>
                      <a:pt x="967643" y="773181"/>
                    </a:cubicBezTo>
                    <a:cubicBezTo>
                      <a:pt x="967643" y="783894"/>
                      <a:pt x="969071" y="793892"/>
                      <a:pt x="971215" y="803890"/>
                    </a:cubicBezTo>
                    <a:cubicBezTo>
                      <a:pt x="881203" y="803890"/>
                      <a:pt x="881203" y="803890"/>
                      <a:pt x="881203" y="803890"/>
                    </a:cubicBezTo>
                    <a:cubicBezTo>
                      <a:pt x="792621" y="803890"/>
                      <a:pt x="765475" y="803890"/>
                      <a:pt x="757616" y="803890"/>
                    </a:cubicBezTo>
                    <a:cubicBezTo>
                      <a:pt x="759760" y="793892"/>
                      <a:pt x="760474" y="783894"/>
                      <a:pt x="760474" y="773181"/>
                    </a:cubicBezTo>
                    <a:cubicBezTo>
                      <a:pt x="760474" y="772467"/>
                      <a:pt x="760474" y="771753"/>
                      <a:pt x="760474" y="771039"/>
                    </a:cubicBezTo>
                    <a:cubicBezTo>
                      <a:pt x="848342" y="771039"/>
                      <a:pt x="848342" y="771039"/>
                      <a:pt x="848342" y="771039"/>
                    </a:cubicBezTo>
                    <a:cubicBezTo>
                      <a:pt x="848342" y="390389"/>
                      <a:pt x="848342" y="390389"/>
                      <a:pt x="848342" y="390389"/>
                    </a:cubicBezTo>
                    <a:cubicBezTo>
                      <a:pt x="69673" y="390389"/>
                      <a:pt x="69673" y="390389"/>
                      <a:pt x="69673" y="390389"/>
                    </a:cubicBezTo>
                    <a:cubicBezTo>
                      <a:pt x="69673" y="771039"/>
                      <a:pt x="69673" y="771039"/>
                      <a:pt x="69673" y="771039"/>
                    </a:cubicBezTo>
                    <a:cubicBezTo>
                      <a:pt x="140396" y="771039"/>
                      <a:pt x="156113" y="771039"/>
                      <a:pt x="158970" y="771039"/>
                    </a:cubicBezTo>
                    <a:cubicBezTo>
                      <a:pt x="158970" y="771753"/>
                      <a:pt x="158970" y="772467"/>
                      <a:pt x="158970" y="773181"/>
                    </a:cubicBezTo>
                    <a:cubicBezTo>
                      <a:pt x="158970" y="783894"/>
                      <a:pt x="160399" y="793892"/>
                      <a:pt x="162542" y="803890"/>
                    </a:cubicBezTo>
                    <a:cubicBezTo>
                      <a:pt x="69673" y="803890"/>
                      <a:pt x="69673" y="803890"/>
                      <a:pt x="69673" y="803890"/>
                    </a:cubicBezTo>
                    <a:cubicBezTo>
                      <a:pt x="51814" y="803890"/>
                      <a:pt x="36812" y="789607"/>
                      <a:pt x="36812" y="771039"/>
                    </a:cubicBezTo>
                    <a:cubicBezTo>
                      <a:pt x="36812" y="390389"/>
                      <a:pt x="36812" y="390389"/>
                      <a:pt x="36812" y="390389"/>
                    </a:cubicBezTo>
                    <a:cubicBezTo>
                      <a:pt x="36812" y="385390"/>
                      <a:pt x="38241" y="380391"/>
                      <a:pt x="39670" y="376820"/>
                    </a:cubicBezTo>
                    <a:cubicBezTo>
                      <a:pt x="36812" y="373963"/>
                      <a:pt x="34669" y="370392"/>
                      <a:pt x="33240" y="365393"/>
                    </a:cubicBezTo>
                    <a:cubicBezTo>
                      <a:pt x="2522" y="283979"/>
                      <a:pt x="2522" y="283979"/>
                      <a:pt x="2522" y="283979"/>
                    </a:cubicBezTo>
                    <a:cubicBezTo>
                      <a:pt x="-1050" y="276123"/>
                      <a:pt x="-1050" y="266125"/>
                      <a:pt x="3951" y="257555"/>
                    </a:cubicBezTo>
                    <a:cubicBezTo>
                      <a:pt x="7523" y="249699"/>
                      <a:pt x="15381" y="243271"/>
                      <a:pt x="23953" y="240415"/>
                    </a:cubicBezTo>
                    <a:cubicBezTo>
                      <a:pt x="599025" y="74729"/>
                      <a:pt x="599025" y="74729"/>
                      <a:pt x="599025" y="74729"/>
                    </a:cubicBezTo>
                    <a:cubicBezTo>
                      <a:pt x="599740" y="74729"/>
                      <a:pt x="599740" y="74729"/>
                      <a:pt x="599740" y="74729"/>
                    </a:cubicBezTo>
                    <a:cubicBezTo>
                      <a:pt x="599740" y="74729"/>
                      <a:pt x="600454" y="74729"/>
                      <a:pt x="600454" y="74014"/>
                    </a:cubicBezTo>
                    <a:cubicBezTo>
                      <a:pt x="855486" y="1170"/>
                      <a:pt x="855486" y="1170"/>
                      <a:pt x="855486" y="117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4" name="Freeform 6">
                <a:extLst>
                  <a:ext uri="{FF2B5EF4-FFF2-40B4-BE49-F238E27FC236}">
                    <a16:creationId xmlns:a16="http://schemas.microsoft.com/office/drawing/2014/main" id="{76F48F33-1C13-4DEA-8AEC-2FE807F781C8}"/>
                  </a:ext>
                </a:extLst>
              </p:cNvPr>
              <p:cNvSpPr>
                <a:spLocks/>
              </p:cNvSpPr>
              <p:nvPr/>
            </p:nvSpPr>
            <p:spPr bwMode="auto">
              <a:xfrm>
                <a:off x="5514975" y="3152775"/>
                <a:ext cx="1198563" cy="654050"/>
              </a:xfrm>
              <a:custGeom>
                <a:avLst/>
                <a:gdLst>
                  <a:gd name="connsiteX0" fmla="*/ 1004095 w 1198563"/>
                  <a:gd name="connsiteY0" fmla="*/ 558800 h 654050"/>
                  <a:gd name="connsiteX1" fmla="*/ 1050927 w 1198563"/>
                  <a:gd name="connsiteY1" fmla="*/ 606425 h 654050"/>
                  <a:gd name="connsiteX2" fmla="*/ 1004095 w 1198563"/>
                  <a:gd name="connsiteY2" fmla="*/ 654050 h 654050"/>
                  <a:gd name="connsiteX3" fmla="*/ 957263 w 1198563"/>
                  <a:gd name="connsiteY3" fmla="*/ 606425 h 654050"/>
                  <a:gd name="connsiteX4" fmla="*/ 1004095 w 1198563"/>
                  <a:gd name="connsiteY4" fmla="*/ 558800 h 654050"/>
                  <a:gd name="connsiteX5" fmla="*/ 512763 w 1198563"/>
                  <a:gd name="connsiteY5" fmla="*/ 558800 h 654050"/>
                  <a:gd name="connsiteX6" fmla="*/ 560388 w 1198563"/>
                  <a:gd name="connsiteY6" fmla="*/ 606425 h 654050"/>
                  <a:gd name="connsiteX7" fmla="*/ 512763 w 1198563"/>
                  <a:gd name="connsiteY7" fmla="*/ 654050 h 654050"/>
                  <a:gd name="connsiteX8" fmla="*/ 465138 w 1198563"/>
                  <a:gd name="connsiteY8" fmla="*/ 606425 h 654050"/>
                  <a:gd name="connsiteX9" fmla="*/ 512763 w 1198563"/>
                  <a:gd name="connsiteY9" fmla="*/ 558800 h 654050"/>
                  <a:gd name="connsiteX10" fmla="*/ 196057 w 1198563"/>
                  <a:gd name="connsiteY10" fmla="*/ 558800 h 654050"/>
                  <a:gd name="connsiteX11" fmla="*/ 242889 w 1198563"/>
                  <a:gd name="connsiteY11" fmla="*/ 606425 h 654050"/>
                  <a:gd name="connsiteX12" fmla="*/ 196057 w 1198563"/>
                  <a:gd name="connsiteY12" fmla="*/ 654050 h 654050"/>
                  <a:gd name="connsiteX13" fmla="*/ 149225 w 1198563"/>
                  <a:gd name="connsiteY13" fmla="*/ 606425 h 654050"/>
                  <a:gd name="connsiteX14" fmla="*/ 196057 w 1198563"/>
                  <a:gd name="connsiteY14" fmla="*/ 558800 h 654050"/>
                  <a:gd name="connsiteX15" fmla="*/ 493713 w 1198563"/>
                  <a:gd name="connsiteY15" fmla="*/ 319088 h 654050"/>
                  <a:gd name="connsiteX16" fmla="*/ 552451 w 1198563"/>
                  <a:gd name="connsiteY16" fmla="*/ 319088 h 654050"/>
                  <a:gd name="connsiteX17" fmla="*/ 552451 w 1198563"/>
                  <a:gd name="connsiteY17" fmla="*/ 414338 h 654050"/>
                  <a:gd name="connsiteX18" fmla="*/ 493713 w 1198563"/>
                  <a:gd name="connsiteY18" fmla="*/ 414338 h 654050"/>
                  <a:gd name="connsiteX19" fmla="*/ 398463 w 1198563"/>
                  <a:gd name="connsiteY19" fmla="*/ 319088 h 654050"/>
                  <a:gd name="connsiteX20" fmla="*/ 460376 w 1198563"/>
                  <a:gd name="connsiteY20" fmla="*/ 319088 h 654050"/>
                  <a:gd name="connsiteX21" fmla="*/ 460376 w 1198563"/>
                  <a:gd name="connsiteY21" fmla="*/ 414338 h 654050"/>
                  <a:gd name="connsiteX22" fmla="*/ 398463 w 1198563"/>
                  <a:gd name="connsiteY22" fmla="*/ 414338 h 654050"/>
                  <a:gd name="connsiteX23" fmla="*/ 304800 w 1198563"/>
                  <a:gd name="connsiteY23" fmla="*/ 319088 h 654050"/>
                  <a:gd name="connsiteX24" fmla="*/ 366713 w 1198563"/>
                  <a:gd name="connsiteY24" fmla="*/ 319088 h 654050"/>
                  <a:gd name="connsiteX25" fmla="*/ 366713 w 1198563"/>
                  <a:gd name="connsiteY25" fmla="*/ 414338 h 654050"/>
                  <a:gd name="connsiteX26" fmla="*/ 304800 w 1198563"/>
                  <a:gd name="connsiteY26" fmla="*/ 414338 h 654050"/>
                  <a:gd name="connsiteX27" fmla="*/ 211138 w 1198563"/>
                  <a:gd name="connsiteY27" fmla="*/ 319088 h 654050"/>
                  <a:gd name="connsiteX28" fmla="*/ 271463 w 1198563"/>
                  <a:gd name="connsiteY28" fmla="*/ 319088 h 654050"/>
                  <a:gd name="connsiteX29" fmla="*/ 271463 w 1198563"/>
                  <a:gd name="connsiteY29" fmla="*/ 414338 h 654050"/>
                  <a:gd name="connsiteX30" fmla="*/ 211138 w 1198563"/>
                  <a:gd name="connsiteY30" fmla="*/ 414338 h 654050"/>
                  <a:gd name="connsiteX31" fmla="*/ 117475 w 1198563"/>
                  <a:gd name="connsiteY31" fmla="*/ 319088 h 654050"/>
                  <a:gd name="connsiteX32" fmla="*/ 179388 w 1198563"/>
                  <a:gd name="connsiteY32" fmla="*/ 319088 h 654050"/>
                  <a:gd name="connsiteX33" fmla="*/ 179388 w 1198563"/>
                  <a:gd name="connsiteY33" fmla="*/ 414338 h 654050"/>
                  <a:gd name="connsiteX34" fmla="*/ 117475 w 1198563"/>
                  <a:gd name="connsiteY34" fmla="*/ 414338 h 654050"/>
                  <a:gd name="connsiteX35" fmla="*/ 59263 w 1198563"/>
                  <a:gd name="connsiteY35" fmla="*/ 288925 h 654050"/>
                  <a:gd name="connsiteX36" fmla="*/ 42863 w 1198563"/>
                  <a:gd name="connsiteY36" fmla="*/ 305298 h 654050"/>
                  <a:gd name="connsiteX37" fmla="*/ 59263 w 1198563"/>
                  <a:gd name="connsiteY37" fmla="*/ 322384 h 654050"/>
                  <a:gd name="connsiteX38" fmla="*/ 87071 w 1198563"/>
                  <a:gd name="connsiteY38" fmla="*/ 322384 h 654050"/>
                  <a:gd name="connsiteX39" fmla="*/ 87071 w 1198563"/>
                  <a:gd name="connsiteY39" fmla="*/ 414928 h 654050"/>
                  <a:gd name="connsiteX40" fmla="*/ 59263 w 1198563"/>
                  <a:gd name="connsiteY40" fmla="*/ 414928 h 654050"/>
                  <a:gd name="connsiteX41" fmla="*/ 42863 w 1198563"/>
                  <a:gd name="connsiteY41" fmla="*/ 431302 h 654050"/>
                  <a:gd name="connsiteX42" fmla="*/ 59263 w 1198563"/>
                  <a:gd name="connsiteY42" fmla="*/ 447675 h 654050"/>
                  <a:gd name="connsiteX43" fmla="*/ 615427 w 1198563"/>
                  <a:gd name="connsiteY43" fmla="*/ 447675 h 654050"/>
                  <a:gd name="connsiteX44" fmla="*/ 631826 w 1198563"/>
                  <a:gd name="connsiteY44" fmla="*/ 431302 h 654050"/>
                  <a:gd name="connsiteX45" fmla="*/ 615427 w 1198563"/>
                  <a:gd name="connsiteY45" fmla="*/ 414928 h 654050"/>
                  <a:gd name="connsiteX46" fmla="*/ 586905 w 1198563"/>
                  <a:gd name="connsiteY46" fmla="*/ 414928 h 654050"/>
                  <a:gd name="connsiteX47" fmla="*/ 586905 w 1198563"/>
                  <a:gd name="connsiteY47" fmla="*/ 322384 h 654050"/>
                  <a:gd name="connsiteX48" fmla="*/ 615427 w 1198563"/>
                  <a:gd name="connsiteY48" fmla="*/ 322384 h 654050"/>
                  <a:gd name="connsiteX49" fmla="*/ 631826 w 1198563"/>
                  <a:gd name="connsiteY49" fmla="*/ 305298 h 654050"/>
                  <a:gd name="connsiteX50" fmla="*/ 615427 w 1198563"/>
                  <a:gd name="connsiteY50" fmla="*/ 288925 h 654050"/>
                  <a:gd name="connsiteX51" fmla="*/ 59263 w 1198563"/>
                  <a:gd name="connsiteY51" fmla="*/ 288925 h 654050"/>
                  <a:gd name="connsiteX52" fmla="*/ 0 w 1198563"/>
                  <a:gd name="connsiteY52" fmla="*/ 258763 h 654050"/>
                  <a:gd name="connsiteX53" fmla="*/ 709613 w 1198563"/>
                  <a:gd name="connsiteY53" fmla="*/ 258763 h 654050"/>
                  <a:gd name="connsiteX54" fmla="*/ 709613 w 1198563"/>
                  <a:gd name="connsiteY54" fmla="*/ 571501 h 654050"/>
                  <a:gd name="connsiteX55" fmla="*/ 650360 w 1198563"/>
                  <a:gd name="connsiteY55" fmla="*/ 571501 h 654050"/>
                  <a:gd name="connsiteX56" fmla="*/ 512578 w 1198563"/>
                  <a:gd name="connsiteY56" fmla="*/ 465585 h 654050"/>
                  <a:gd name="connsiteX57" fmla="*/ 376224 w 1198563"/>
                  <a:gd name="connsiteY57" fmla="*/ 571501 h 654050"/>
                  <a:gd name="connsiteX58" fmla="*/ 333390 w 1198563"/>
                  <a:gd name="connsiteY58" fmla="*/ 571501 h 654050"/>
                  <a:gd name="connsiteX59" fmla="*/ 195608 w 1198563"/>
                  <a:gd name="connsiteY59" fmla="*/ 465585 h 654050"/>
                  <a:gd name="connsiteX60" fmla="*/ 59254 w 1198563"/>
                  <a:gd name="connsiteY60" fmla="*/ 571501 h 654050"/>
                  <a:gd name="connsiteX61" fmla="*/ 0 w 1198563"/>
                  <a:gd name="connsiteY61" fmla="*/ 571501 h 654050"/>
                  <a:gd name="connsiteX62" fmla="*/ 0 w 1198563"/>
                  <a:gd name="connsiteY62" fmla="*/ 258763 h 654050"/>
                  <a:gd name="connsiteX63" fmla="*/ 998538 w 1198563"/>
                  <a:gd name="connsiteY63" fmla="*/ 233363 h 654050"/>
                  <a:gd name="connsiteX64" fmla="*/ 998538 w 1198563"/>
                  <a:gd name="connsiteY64" fmla="*/ 388938 h 654050"/>
                  <a:gd name="connsiteX65" fmla="*/ 1124765 w 1198563"/>
                  <a:gd name="connsiteY65" fmla="*/ 388938 h 654050"/>
                  <a:gd name="connsiteX66" fmla="*/ 1137675 w 1198563"/>
                  <a:gd name="connsiteY66" fmla="*/ 371097 h 654050"/>
                  <a:gd name="connsiteX67" fmla="*/ 1123331 w 1198563"/>
                  <a:gd name="connsiteY67" fmla="*/ 246922 h 654050"/>
                  <a:gd name="connsiteX68" fmla="*/ 1109704 w 1198563"/>
                  <a:gd name="connsiteY68" fmla="*/ 233363 h 654050"/>
                  <a:gd name="connsiteX69" fmla="*/ 998538 w 1198563"/>
                  <a:gd name="connsiteY69" fmla="*/ 233363 h 654050"/>
                  <a:gd name="connsiteX70" fmla="*/ 883356 w 1198563"/>
                  <a:gd name="connsiteY70" fmla="*/ 233363 h 654050"/>
                  <a:gd name="connsiteX71" fmla="*/ 869950 w 1198563"/>
                  <a:gd name="connsiteY71" fmla="*/ 249777 h 654050"/>
                  <a:gd name="connsiteX72" fmla="*/ 869950 w 1198563"/>
                  <a:gd name="connsiteY72" fmla="*/ 373238 h 654050"/>
                  <a:gd name="connsiteX73" fmla="*/ 883356 w 1198563"/>
                  <a:gd name="connsiteY73" fmla="*/ 388938 h 654050"/>
                  <a:gd name="connsiteX74" fmla="*/ 965200 w 1198563"/>
                  <a:gd name="connsiteY74" fmla="*/ 388938 h 654050"/>
                  <a:gd name="connsiteX75" fmla="*/ 965200 w 1198563"/>
                  <a:gd name="connsiteY75" fmla="*/ 233363 h 654050"/>
                  <a:gd name="connsiteX76" fmla="*/ 883356 w 1198563"/>
                  <a:gd name="connsiteY76" fmla="*/ 233363 h 654050"/>
                  <a:gd name="connsiteX77" fmla="*/ 809625 w 1198563"/>
                  <a:gd name="connsiteY77" fmla="*/ 195263 h 654050"/>
                  <a:gd name="connsiteX78" fmla="*/ 1142081 w 1198563"/>
                  <a:gd name="connsiteY78" fmla="*/ 195263 h 654050"/>
                  <a:gd name="connsiteX79" fmla="*/ 1198563 w 1198563"/>
                  <a:gd name="connsiteY79" fmla="*/ 377314 h 654050"/>
                  <a:gd name="connsiteX80" fmla="*/ 1198563 w 1198563"/>
                  <a:gd name="connsiteY80" fmla="*/ 571501 h 654050"/>
                  <a:gd name="connsiteX81" fmla="*/ 1142796 w 1198563"/>
                  <a:gd name="connsiteY81" fmla="*/ 571501 h 654050"/>
                  <a:gd name="connsiteX82" fmla="*/ 1017678 w 1198563"/>
                  <a:gd name="connsiteY82" fmla="*/ 466554 h 654050"/>
                  <a:gd name="connsiteX83" fmla="*/ 1004094 w 1198563"/>
                  <a:gd name="connsiteY83" fmla="*/ 465840 h 654050"/>
                  <a:gd name="connsiteX84" fmla="*/ 926164 w 1198563"/>
                  <a:gd name="connsiteY84" fmla="*/ 489400 h 654050"/>
                  <a:gd name="connsiteX85" fmla="*/ 867537 w 1198563"/>
                  <a:gd name="connsiteY85" fmla="*/ 571501 h 654050"/>
                  <a:gd name="connsiteX86" fmla="*/ 809625 w 1198563"/>
                  <a:gd name="connsiteY86" fmla="*/ 571501 h 654050"/>
                  <a:gd name="connsiteX87" fmla="*/ 809625 w 1198563"/>
                  <a:gd name="connsiteY87" fmla="*/ 195263 h 654050"/>
                  <a:gd name="connsiteX88" fmla="*/ 988577 w 1198563"/>
                  <a:gd name="connsiteY88" fmla="*/ 0 h 654050"/>
                  <a:gd name="connsiteX89" fmla="*/ 1042988 w 1198563"/>
                  <a:gd name="connsiteY89" fmla="*/ 54022 h 654050"/>
                  <a:gd name="connsiteX90" fmla="*/ 1042988 w 1198563"/>
                  <a:gd name="connsiteY90" fmla="*/ 95250 h 654050"/>
                  <a:gd name="connsiteX91" fmla="*/ 933450 w 1198563"/>
                  <a:gd name="connsiteY91" fmla="*/ 95250 h 654050"/>
                  <a:gd name="connsiteX92" fmla="*/ 933450 w 1198563"/>
                  <a:gd name="connsiteY92" fmla="*/ 54022 h 654050"/>
                  <a:gd name="connsiteX93" fmla="*/ 988577 w 1198563"/>
                  <a:gd name="connsiteY93" fmla="*/ 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98563" h="654050">
                    <a:moveTo>
                      <a:pt x="1004095" y="558800"/>
                    </a:moveTo>
                    <a:cubicBezTo>
                      <a:pt x="1029960" y="558800"/>
                      <a:pt x="1050927" y="580122"/>
                      <a:pt x="1050927" y="606425"/>
                    </a:cubicBezTo>
                    <a:cubicBezTo>
                      <a:pt x="1050927" y="632728"/>
                      <a:pt x="1029960" y="654050"/>
                      <a:pt x="1004095" y="654050"/>
                    </a:cubicBezTo>
                    <a:cubicBezTo>
                      <a:pt x="978230" y="654050"/>
                      <a:pt x="957263" y="632728"/>
                      <a:pt x="957263" y="606425"/>
                    </a:cubicBezTo>
                    <a:cubicBezTo>
                      <a:pt x="957263" y="580122"/>
                      <a:pt x="978230" y="558800"/>
                      <a:pt x="1004095" y="558800"/>
                    </a:cubicBezTo>
                    <a:close/>
                    <a:moveTo>
                      <a:pt x="512763" y="558800"/>
                    </a:moveTo>
                    <a:cubicBezTo>
                      <a:pt x="539066" y="558800"/>
                      <a:pt x="560388" y="580122"/>
                      <a:pt x="560388" y="606425"/>
                    </a:cubicBezTo>
                    <a:cubicBezTo>
                      <a:pt x="560388" y="632728"/>
                      <a:pt x="539066" y="654050"/>
                      <a:pt x="512763" y="654050"/>
                    </a:cubicBezTo>
                    <a:cubicBezTo>
                      <a:pt x="486460" y="654050"/>
                      <a:pt x="465138" y="632728"/>
                      <a:pt x="465138" y="606425"/>
                    </a:cubicBezTo>
                    <a:cubicBezTo>
                      <a:pt x="465138" y="580122"/>
                      <a:pt x="486460" y="558800"/>
                      <a:pt x="512763" y="558800"/>
                    </a:cubicBezTo>
                    <a:close/>
                    <a:moveTo>
                      <a:pt x="196057" y="558800"/>
                    </a:moveTo>
                    <a:cubicBezTo>
                      <a:pt x="221922" y="558800"/>
                      <a:pt x="242889" y="580122"/>
                      <a:pt x="242889" y="606425"/>
                    </a:cubicBezTo>
                    <a:cubicBezTo>
                      <a:pt x="242889" y="632728"/>
                      <a:pt x="221922" y="654050"/>
                      <a:pt x="196057" y="654050"/>
                    </a:cubicBezTo>
                    <a:cubicBezTo>
                      <a:pt x="170192" y="654050"/>
                      <a:pt x="149225" y="632728"/>
                      <a:pt x="149225" y="606425"/>
                    </a:cubicBezTo>
                    <a:cubicBezTo>
                      <a:pt x="149225" y="580122"/>
                      <a:pt x="170192" y="558800"/>
                      <a:pt x="196057" y="558800"/>
                    </a:cubicBezTo>
                    <a:close/>
                    <a:moveTo>
                      <a:pt x="493713" y="319088"/>
                    </a:moveTo>
                    <a:lnTo>
                      <a:pt x="552451" y="319088"/>
                    </a:lnTo>
                    <a:lnTo>
                      <a:pt x="552451" y="414338"/>
                    </a:lnTo>
                    <a:lnTo>
                      <a:pt x="493713" y="414338"/>
                    </a:lnTo>
                    <a:close/>
                    <a:moveTo>
                      <a:pt x="398463" y="319088"/>
                    </a:moveTo>
                    <a:lnTo>
                      <a:pt x="460376" y="319088"/>
                    </a:lnTo>
                    <a:lnTo>
                      <a:pt x="460376" y="414338"/>
                    </a:lnTo>
                    <a:lnTo>
                      <a:pt x="398463" y="414338"/>
                    </a:lnTo>
                    <a:close/>
                    <a:moveTo>
                      <a:pt x="304800" y="319088"/>
                    </a:moveTo>
                    <a:lnTo>
                      <a:pt x="366713" y="319088"/>
                    </a:lnTo>
                    <a:lnTo>
                      <a:pt x="366713" y="414338"/>
                    </a:lnTo>
                    <a:lnTo>
                      <a:pt x="304800" y="414338"/>
                    </a:lnTo>
                    <a:close/>
                    <a:moveTo>
                      <a:pt x="211138" y="319088"/>
                    </a:moveTo>
                    <a:lnTo>
                      <a:pt x="271463" y="319088"/>
                    </a:lnTo>
                    <a:lnTo>
                      <a:pt x="271463" y="414338"/>
                    </a:lnTo>
                    <a:lnTo>
                      <a:pt x="211138" y="414338"/>
                    </a:lnTo>
                    <a:close/>
                    <a:moveTo>
                      <a:pt x="117475" y="319088"/>
                    </a:moveTo>
                    <a:lnTo>
                      <a:pt x="179388" y="319088"/>
                    </a:lnTo>
                    <a:lnTo>
                      <a:pt x="179388" y="414338"/>
                    </a:lnTo>
                    <a:lnTo>
                      <a:pt x="117475" y="414338"/>
                    </a:lnTo>
                    <a:close/>
                    <a:moveTo>
                      <a:pt x="59263" y="288925"/>
                    </a:moveTo>
                    <a:cubicBezTo>
                      <a:pt x="49281" y="288925"/>
                      <a:pt x="42863" y="296756"/>
                      <a:pt x="42863" y="305298"/>
                    </a:cubicBezTo>
                    <a:cubicBezTo>
                      <a:pt x="42863" y="314553"/>
                      <a:pt x="49281" y="322384"/>
                      <a:pt x="59263" y="322384"/>
                    </a:cubicBezTo>
                    <a:cubicBezTo>
                      <a:pt x="87071" y="322384"/>
                      <a:pt x="87071" y="322384"/>
                      <a:pt x="87071" y="322384"/>
                    </a:cubicBezTo>
                    <a:cubicBezTo>
                      <a:pt x="87071" y="414928"/>
                      <a:pt x="87071" y="414928"/>
                      <a:pt x="87071" y="414928"/>
                    </a:cubicBezTo>
                    <a:cubicBezTo>
                      <a:pt x="87071" y="414928"/>
                      <a:pt x="87071" y="414928"/>
                      <a:pt x="59263" y="414928"/>
                    </a:cubicBezTo>
                    <a:cubicBezTo>
                      <a:pt x="49281" y="414928"/>
                      <a:pt x="42863" y="421335"/>
                      <a:pt x="42863" y="431302"/>
                    </a:cubicBezTo>
                    <a:cubicBezTo>
                      <a:pt x="42863" y="439844"/>
                      <a:pt x="49281" y="447675"/>
                      <a:pt x="59263" y="447675"/>
                    </a:cubicBezTo>
                    <a:cubicBezTo>
                      <a:pt x="615427" y="447675"/>
                      <a:pt x="615427" y="447675"/>
                      <a:pt x="615427" y="447675"/>
                    </a:cubicBezTo>
                    <a:cubicBezTo>
                      <a:pt x="623983" y="447675"/>
                      <a:pt x="631826" y="439844"/>
                      <a:pt x="631826" y="431302"/>
                    </a:cubicBezTo>
                    <a:cubicBezTo>
                      <a:pt x="631826" y="421335"/>
                      <a:pt x="623983" y="414928"/>
                      <a:pt x="615427" y="414928"/>
                    </a:cubicBezTo>
                    <a:cubicBezTo>
                      <a:pt x="586905" y="414928"/>
                      <a:pt x="586905" y="414928"/>
                      <a:pt x="586905" y="414928"/>
                    </a:cubicBezTo>
                    <a:cubicBezTo>
                      <a:pt x="586905" y="322384"/>
                      <a:pt x="586905" y="322384"/>
                      <a:pt x="586905" y="322384"/>
                    </a:cubicBezTo>
                    <a:cubicBezTo>
                      <a:pt x="615427" y="322384"/>
                      <a:pt x="615427" y="322384"/>
                      <a:pt x="615427" y="322384"/>
                    </a:cubicBezTo>
                    <a:cubicBezTo>
                      <a:pt x="623983" y="322384"/>
                      <a:pt x="631826" y="314553"/>
                      <a:pt x="631826" y="305298"/>
                    </a:cubicBezTo>
                    <a:cubicBezTo>
                      <a:pt x="631826" y="296756"/>
                      <a:pt x="623983" y="288925"/>
                      <a:pt x="615427" y="288925"/>
                    </a:cubicBezTo>
                    <a:cubicBezTo>
                      <a:pt x="59263" y="288925"/>
                      <a:pt x="59263" y="288925"/>
                      <a:pt x="59263" y="288925"/>
                    </a:cubicBezTo>
                    <a:close/>
                    <a:moveTo>
                      <a:pt x="0" y="258763"/>
                    </a:moveTo>
                    <a:cubicBezTo>
                      <a:pt x="0" y="258763"/>
                      <a:pt x="0" y="258763"/>
                      <a:pt x="709613" y="258763"/>
                    </a:cubicBezTo>
                    <a:cubicBezTo>
                      <a:pt x="709613" y="571501"/>
                      <a:pt x="709613" y="571501"/>
                      <a:pt x="709613" y="571501"/>
                    </a:cubicBezTo>
                    <a:cubicBezTo>
                      <a:pt x="666066" y="571501"/>
                      <a:pt x="653929" y="571501"/>
                      <a:pt x="650360" y="571501"/>
                    </a:cubicBezTo>
                    <a:cubicBezTo>
                      <a:pt x="633940" y="510671"/>
                      <a:pt x="578970" y="465585"/>
                      <a:pt x="512578" y="465585"/>
                    </a:cubicBezTo>
                    <a:cubicBezTo>
                      <a:pt x="446899" y="465585"/>
                      <a:pt x="391929" y="510671"/>
                      <a:pt x="376224" y="571501"/>
                    </a:cubicBezTo>
                    <a:cubicBezTo>
                      <a:pt x="344812" y="571501"/>
                      <a:pt x="335532" y="571501"/>
                      <a:pt x="333390" y="571501"/>
                    </a:cubicBezTo>
                    <a:cubicBezTo>
                      <a:pt x="316970" y="510671"/>
                      <a:pt x="262000" y="465585"/>
                      <a:pt x="195608" y="465585"/>
                    </a:cubicBezTo>
                    <a:cubicBezTo>
                      <a:pt x="130643" y="465585"/>
                      <a:pt x="74959" y="510671"/>
                      <a:pt x="59254" y="571501"/>
                    </a:cubicBezTo>
                    <a:cubicBezTo>
                      <a:pt x="0" y="571501"/>
                      <a:pt x="0" y="571501"/>
                      <a:pt x="0" y="571501"/>
                    </a:cubicBezTo>
                    <a:cubicBezTo>
                      <a:pt x="0" y="258763"/>
                      <a:pt x="0" y="258763"/>
                      <a:pt x="0" y="258763"/>
                    </a:cubicBezTo>
                    <a:close/>
                    <a:moveTo>
                      <a:pt x="998538" y="233363"/>
                    </a:moveTo>
                    <a:cubicBezTo>
                      <a:pt x="998538" y="388938"/>
                      <a:pt x="998538" y="388938"/>
                      <a:pt x="998538" y="388938"/>
                    </a:cubicBezTo>
                    <a:cubicBezTo>
                      <a:pt x="1124765" y="388938"/>
                      <a:pt x="1124765" y="388938"/>
                      <a:pt x="1124765" y="388938"/>
                    </a:cubicBezTo>
                    <a:cubicBezTo>
                      <a:pt x="1132654" y="388938"/>
                      <a:pt x="1139826" y="381088"/>
                      <a:pt x="1137675" y="371097"/>
                    </a:cubicBezTo>
                    <a:cubicBezTo>
                      <a:pt x="1123331" y="246922"/>
                      <a:pt x="1123331" y="246922"/>
                      <a:pt x="1123331" y="246922"/>
                    </a:cubicBezTo>
                    <a:cubicBezTo>
                      <a:pt x="1121896" y="239786"/>
                      <a:pt x="1116159" y="233363"/>
                      <a:pt x="1109704" y="233363"/>
                    </a:cubicBezTo>
                    <a:cubicBezTo>
                      <a:pt x="998538" y="233363"/>
                      <a:pt x="998538" y="233363"/>
                      <a:pt x="998538" y="233363"/>
                    </a:cubicBezTo>
                    <a:close/>
                    <a:moveTo>
                      <a:pt x="883356" y="233363"/>
                    </a:moveTo>
                    <a:cubicBezTo>
                      <a:pt x="876300" y="233363"/>
                      <a:pt x="869950" y="240500"/>
                      <a:pt x="869950" y="249777"/>
                    </a:cubicBezTo>
                    <a:cubicBezTo>
                      <a:pt x="869950" y="373238"/>
                      <a:pt x="869950" y="373238"/>
                      <a:pt x="869950" y="373238"/>
                    </a:cubicBezTo>
                    <a:cubicBezTo>
                      <a:pt x="869950" y="382515"/>
                      <a:pt x="876300" y="388938"/>
                      <a:pt x="883356" y="388938"/>
                    </a:cubicBezTo>
                    <a:cubicBezTo>
                      <a:pt x="965200" y="388938"/>
                      <a:pt x="965200" y="388938"/>
                      <a:pt x="965200" y="388938"/>
                    </a:cubicBezTo>
                    <a:cubicBezTo>
                      <a:pt x="965200" y="233363"/>
                      <a:pt x="965200" y="233363"/>
                      <a:pt x="965200" y="233363"/>
                    </a:cubicBezTo>
                    <a:cubicBezTo>
                      <a:pt x="883356" y="233363"/>
                      <a:pt x="883356" y="233363"/>
                      <a:pt x="883356" y="233363"/>
                    </a:cubicBezTo>
                    <a:close/>
                    <a:moveTo>
                      <a:pt x="809625" y="195263"/>
                    </a:moveTo>
                    <a:cubicBezTo>
                      <a:pt x="1142081" y="195263"/>
                      <a:pt x="1142081" y="195263"/>
                      <a:pt x="1142081" y="195263"/>
                    </a:cubicBezTo>
                    <a:cubicBezTo>
                      <a:pt x="1142081" y="195263"/>
                      <a:pt x="1142081" y="195263"/>
                      <a:pt x="1198563" y="377314"/>
                    </a:cubicBezTo>
                    <a:cubicBezTo>
                      <a:pt x="1198563" y="571501"/>
                      <a:pt x="1198563" y="571501"/>
                      <a:pt x="1198563" y="571501"/>
                    </a:cubicBezTo>
                    <a:cubicBezTo>
                      <a:pt x="1161385" y="571501"/>
                      <a:pt x="1147801" y="571501"/>
                      <a:pt x="1142796" y="571501"/>
                    </a:cubicBezTo>
                    <a:cubicBezTo>
                      <a:pt x="1127782" y="514387"/>
                      <a:pt x="1077735" y="471552"/>
                      <a:pt x="1017678" y="466554"/>
                    </a:cubicBezTo>
                    <a:cubicBezTo>
                      <a:pt x="1013389" y="465840"/>
                      <a:pt x="1008384" y="465840"/>
                      <a:pt x="1004094" y="465840"/>
                    </a:cubicBezTo>
                    <a:cubicBezTo>
                      <a:pt x="975496" y="465840"/>
                      <a:pt x="948327" y="474407"/>
                      <a:pt x="926164" y="489400"/>
                    </a:cubicBezTo>
                    <a:cubicBezTo>
                      <a:pt x="897565" y="508676"/>
                      <a:pt x="876116" y="537233"/>
                      <a:pt x="867537" y="571501"/>
                    </a:cubicBezTo>
                    <a:cubicBezTo>
                      <a:pt x="809625" y="571501"/>
                      <a:pt x="809625" y="571501"/>
                      <a:pt x="809625" y="571501"/>
                    </a:cubicBezTo>
                    <a:cubicBezTo>
                      <a:pt x="809625" y="195263"/>
                      <a:pt x="809625" y="195263"/>
                      <a:pt x="809625" y="195263"/>
                    </a:cubicBezTo>
                    <a:close/>
                    <a:moveTo>
                      <a:pt x="988577" y="0"/>
                    </a:moveTo>
                    <a:cubicBezTo>
                      <a:pt x="1019362" y="0"/>
                      <a:pt x="1042988" y="24168"/>
                      <a:pt x="1042988" y="54022"/>
                    </a:cubicBezTo>
                    <a:cubicBezTo>
                      <a:pt x="1042988" y="54022"/>
                      <a:pt x="1042988" y="54022"/>
                      <a:pt x="1042988" y="95250"/>
                    </a:cubicBezTo>
                    <a:cubicBezTo>
                      <a:pt x="1042988" y="95250"/>
                      <a:pt x="1042988" y="95250"/>
                      <a:pt x="933450" y="95250"/>
                    </a:cubicBezTo>
                    <a:cubicBezTo>
                      <a:pt x="933450" y="95250"/>
                      <a:pt x="933450" y="95250"/>
                      <a:pt x="933450" y="54022"/>
                    </a:cubicBezTo>
                    <a:cubicBezTo>
                      <a:pt x="933450" y="24168"/>
                      <a:pt x="957792" y="0"/>
                      <a:pt x="988577"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5" name="Round Same Side Corner Rectangle 9">
            <a:extLst>
              <a:ext uri="{FF2B5EF4-FFF2-40B4-BE49-F238E27FC236}">
                <a16:creationId xmlns:a16="http://schemas.microsoft.com/office/drawing/2014/main" id="{6A660619-FB5D-4249-90B2-687799930D1B}"/>
              </a:ext>
            </a:extLst>
          </p:cNvPr>
          <p:cNvSpPr/>
          <p:nvPr/>
        </p:nvSpPr>
        <p:spPr>
          <a:xfrm rot="5400000">
            <a:off x="4376184" y="-2954802"/>
            <a:ext cx="486880" cy="8439151"/>
          </a:xfrm>
          <a:prstGeom prst="round2SameRect">
            <a:avLst>
              <a:gd name="adj1" fmla="val 50000"/>
              <a:gd name="adj2" fmla="val 0"/>
            </a:avLst>
          </a:prstGeom>
          <a:solidFill>
            <a:srgbClr val="16448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91440" rIns="91440" bIns="91440" numCol="1" spcCol="0" rtlCol="0" fromWordArt="0" anchor="ctr" anchorCtr="0" forceAA="0" compatLnSpc="1">
            <a:prstTxWarp prst="textNoShape">
              <a:avLst/>
            </a:prstTxWarp>
            <a:noAutofit/>
          </a:bodyPr>
          <a:lstStyle/>
          <a:p>
            <a:r>
              <a:rPr lang="en-US" dirty="0">
                <a:solidFill>
                  <a:schemeClr val="bg1"/>
                </a:solidFill>
              </a:rPr>
              <a:t>These are some of the ways that high-speed internet has transformed our world:</a:t>
            </a:r>
          </a:p>
        </p:txBody>
      </p:sp>
    </p:spTree>
    <p:extLst>
      <p:ext uri="{BB962C8B-B14F-4D97-AF65-F5344CB8AC3E}">
        <p14:creationId xmlns:p14="http://schemas.microsoft.com/office/powerpoint/2010/main" val="3016069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26C2D3-0880-4C39-8089-CA84001F15FE}"/>
              </a:ext>
            </a:extLst>
          </p:cNvPr>
          <p:cNvGraphicFramePr>
            <a:graphicFrameLocks noChangeAspect="1"/>
          </p:cNvGraphicFramePr>
          <p:nvPr>
            <p:custDataLst>
              <p:tags r:id="rId2"/>
            </p:custDataLst>
            <p:extLst>
              <p:ext uri="{D42A27DB-BD31-4B8C-83A1-F6EECF244321}">
                <p14:modId xmlns:p14="http://schemas.microsoft.com/office/powerpoint/2010/main" val="198799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7B26C2D3-0880-4C39-8089-CA84001F15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B26F6-6421-4D1C-9F99-D1DFFAD2411B}"/>
              </a:ext>
            </a:extLst>
          </p:cNvPr>
          <p:cNvSpPr>
            <a:spLocks noGrp="1"/>
          </p:cNvSpPr>
          <p:nvPr>
            <p:ph type="title"/>
          </p:nvPr>
        </p:nvSpPr>
        <p:spPr>
          <a:xfrm>
            <a:off x="400050" y="387883"/>
            <a:ext cx="10593069" cy="566735"/>
          </a:xfrm>
          <a:prstGeom prst="rect">
            <a:avLst/>
          </a:prstGeom>
        </p:spPr>
        <p:txBody>
          <a:bodyPr vert="horz"/>
          <a:lstStyle/>
          <a:p>
            <a:pPr>
              <a:buSzPts val="3000"/>
            </a:pPr>
            <a:r>
              <a:rPr lang="en-US" sz="2700" cap="none" dirty="0">
                <a:solidFill>
                  <a:srgbClr val="164484"/>
                </a:solidFill>
              </a:rPr>
              <a:t>Affordable, reliable, high-speed Internet has remained elusive for too long</a:t>
            </a:r>
          </a:p>
        </p:txBody>
      </p:sp>
      <p:sp>
        <p:nvSpPr>
          <p:cNvPr id="22" name="Rectangle 21">
            <a:extLst>
              <a:ext uri="{FF2B5EF4-FFF2-40B4-BE49-F238E27FC236}">
                <a16:creationId xmlns:a16="http://schemas.microsoft.com/office/drawing/2014/main" id="{6E5E8C5C-D562-40AD-B37A-FA85828A30D8}"/>
              </a:ext>
            </a:extLst>
          </p:cNvPr>
          <p:cNvSpPr/>
          <p:nvPr/>
        </p:nvSpPr>
        <p:spPr>
          <a:xfrm>
            <a:off x="1373927" y="5096344"/>
            <a:ext cx="9359288"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algn="ctr">
              <a:buClr>
                <a:srgbClr val="0A3161"/>
              </a:buClr>
              <a:buFont typeface="Trebuchet MS" panose="020B0603020202020204" pitchFamily="34" charset="0"/>
              <a:buChar char="​"/>
            </a:pPr>
            <a:r>
              <a:rPr lang="en-US" dirty="0">
                <a:solidFill>
                  <a:srgbClr val="164484"/>
                </a:solidFill>
              </a:rPr>
              <a:t>This gap is particularly acute for communities of color, Tribal nations, lower-income areas, and both urban and rural communities</a:t>
            </a:r>
          </a:p>
        </p:txBody>
      </p:sp>
      <p:sp>
        <p:nvSpPr>
          <p:cNvPr id="23" name="TextBox 22">
            <a:extLst>
              <a:ext uri="{FF2B5EF4-FFF2-40B4-BE49-F238E27FC236}">
                <a16:creationId xmlns:a16="http://schemas.microsoft.com/office/drawing/2014/main" id="{AA72BEED-1647-4BC0-ADEE-FF842F60FAC6}"/>
              </a:ext>
            </a:extLst>
          </p:cNvPr>
          <p:cNvSpPr txBox="1"/>
          <p:nvPr/>
        </p:nvSpPr>
        <p:spPr>
          <a:xfrm>
            <a:off x="400051" y="1452983"/>
            <a:ext cx="11307040" cy="7078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b="1" dirty="0">
                <a:solidFill>
                  <a:srgbClr val="164484"/>
                </a:solidFill>
              </a:rPr>
              <a:t>The "digital divide" refers to the gap between those who have access to high-speed Internet and those who have limited or no access, driven by three key barriers</a:t>
            </a:r>
          </a:p>
        </p:txBody>
      </p:sp>
      <p:grpSp>
        <p:nvGrpSpPr>
          <p:cNvPr id="3" name="Group 2">
            <a:extLst>
              <a:ext uri="{FF2B5EF4-FFF2-40B4-BE49-F238E27FC236}">
                <a16:creationId xmlns:a16="http://schemas.microsoft.com/office/drawing/2014/main" id="{9F6D97CF-A420-415B-AD02-5A551699E93F}"/>
              </a:ext>
            </a:extLst>
          </p:cNvPr>
          <p:cNvGrpSpPr/>
          <p:nvPr/>
        </p:nvGrpSpPr>
        <p:grpSpPr>
          <a:xfrm>
            <a:off x="580160" y="2377882"/>
            <a:ext cx="10946822" cy="2385936"/>
            <a:chOff x="400051" y="2377882"/>
            <a:chExt cx="10946822" cy="2385936"/>
          </a:xfrm>
        </p:grpSpPr>
        <p:sp>
          <p:nvSpPr>
            <p:cNvPr id="30" name="Rectangle 29">
              <a:extLst>
                <a:ext uri="{FF2B5EF4-FFF2-40B4-BE49-F238E27FC236}">
                  <a16:creationId xmlns:a16="http://schemas.microsoft.com/office/drawing/2014/main" id="{91297356-899E-4EDE-B95B-56D2B0234853}"/>
                </a:ext>
              </a:extLst>
            </p:cNvPr>
            <p:cNvSpPr/>
            <p:nvPr/>
          </p:nvSpPr>
          <p:spPr bwMode="gray">
            <a:xfrm>
              <a:off x="400051" y="2377882"/>
              <a:ext cx="3540065" cy="1051118"/>
            </a:xfrm>
            <a:prstGeom prst="rect">
              <a:avLst/>
            </a:prstGeom>
            <a:solidFill>
              <a:srgbClr val="164484"/>
            </a:solidFill>
            <a:ln w="19050" cap="flat" cmpd="sng" algn="ctr">
              <a:solidFill>
                <a:srgbClr val="164484"/>
              </a:solidFill>
              <a:prstDash val="solid"/>
              <a:miter lim="800000"/>
              <a:headEnd type="none" w="med" len="med"/>
              <a:tailEnd type="none" w="med" len="med"/>
            </a:ln>
          </p:spPr>
          <p:txBody>
            <a:bodyPr wrap="square" lIns="91440" tIns="88900" rIns="91440" bIns="91440" rtlCol="0" anchor="b"/>
            <a:lstStyle/>
            <a:p>
              <a:pPr algn="ctr">
                <a:lnSpc>
                  <a:spcPct val="106000"/>
                </a:lnSpc>
                <a:buFont typeface="Wingdings 2" pitchFamily="18" charset="2"/>
                <a:buNone/>
              </a:pPr>
              <a:r>
                <a:rPr lang="en-US" b="1" dirty="0">
                  <a:solidFill>
                    <a:schemeClr val="bg1"/>
                  </a:solidFill>
                  <a:latin typeface="Arial" panose="020B0604020202020204" pitchFamily="34" charset="0"/>
                  <a:cs typeface="Arial" panose="020B0604020202020204" pitchFamily="34" charset="0"/>
                </a:rPr>
                <a:t>Access</a:t>
              </a:r>
              <a:endParaRPr lang="en-US" dirty="0">
                <a:solidFill>
                  <a:schemeClr val="bg1"/>
                </a:solidFill>
                <a:latin typeface="Arial" panose="020B0604020202020204" pitchFamily="34" charset="0"/>
                <a:cs typeface="Arial" panose="020B0604020202020204" pitchFamily="34" charset="0"/>
              </a:endParaRPr>
            </a:p>
          </p:txBody>
        </p:sp>
        <p:grpSp>
          <p:nvGrpSpPr>
            <p:cNvPr id="38" name="bcgBugs_Key">
              <a:extLst>
                <a:ext uri="{FF2B5EF4-FFF2-40B4-BE49-F238E27FC236}">
                  <a16:creationId xmlns:a16="http://schemas.microsoft.com/office/drawing/2014/main" id="{E3705CD9-1E28-488A-862D-50F63FCD2D8E}"/>
                </a:ext>
              </a:extLst>
            </p:cNvPr>
            <p:cNvGrpSpPr>
              <a:grpSpLocks noChangeAspect="1"/>
            </p:cNvGrpSpPr>
            <p:nvPr/>
          </p:nvGrpSpPr>
          <p:grpSpPr bwMode="auto">
            <a:xfrm>
              <a:off x="1807355" y="2391895"/>
              <a:ext cx="725457" cy="726167"/>
              <a:chOff x="2818" y="1137"/>
              <a:chExt cx="2044" cy="2046"/>
            </a:xfrm>
          </p:grpSpPr>
          <p:sp>
            <p:nvSpPr>
              <p:cNvPr id="39" name="AutoShape 7">
                <a:extLst>
                  <a:ext uri="{FF2B5EF4-FFF2-40B4-BE49-F238E27FC236}">
                    <a16:creationId xmlns:a16="http://schemas.microsoft.com/office/drawing/2014/main" id="{5C5CE081-CE3C-4E73-936F-D115E010A277}"/>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0">
                <a:extLst>
                  <a:ext uri="{FF2B5EF4-FFF2-40B4-BE49-F238E27FC236}">
                    <a16:creationId xmlns:a16="http://schemas.microsoft.com/office/drawing/2014/main" id="{5CEFE6BE-06C5-4780-86C9-FA6EDE185BFE}"/>
                  </a:ext>
                </a:extLst>
              </p:cNvPr>
              <p:cNvSpPr>
                <a:spLocks noEditPoints="1"/>
              </p:cNvSpPr>
              <p:nvPr/>
            </p:nvSpPr>
            <p:spPr bwMode="auto">
              <a:xfrm>
                <a:off x="2941" y="1721"/>
                <a:ext cx="1806" cy="880"/>
              </a:xfrm>
              <a:custGeom>
                <a:avLst/>
                <a:gdLst>
                  <a:gd name="T0" fmla="*/ 873 w 883"/>
                  <a:gd name="T1" fmla="*/ 190 h 430"/>
                  <a:gd name="T2" fmla="*/ 821 w 883"/>
                  <a:gd name="T3" fmla="*/ 139 h 430"/>
                  <a:gd name="T4" fmla="*/ 369 w 883"/>
                  <a:gd name="T5" fmla="*/ 139 h 430"/>
                  <a:gd name="T6" fmla="*/ 306 w 883"/>
                  <a:gd name="T7" fmla="*/ 44 h 430"/>
                  <a:gd name="T8" fmla="*/ 190 w 883"/>
                  <a:gd name="T9" fmla="*/ 0 h 430"/>
                  <a:gd name="T10" fmla="*/ 0 w 883"/>
                  <a:gd name="T11" fmla="*/ 215 h 430"/>
                  <a:gd name="T12" fmla="*/ 190 w 883"/>
                  <a:gd name="T13" fmla="*/ 430 h 430"/>
                  <a:gd name="T14" fmla="*/ 305 w 883"/>
                  <a:gd name="T15" fmla="*/ 387 h 430"/>
                  <a:gd name="T16" fmla="*/ 368 w 883"/>
                  <a:gd name="T17" fmla="*/ 294 h 430"/>
                  <a:gd name="T18" fmla="*/ 456 w 883"/>
                  <a:gd name="T19" fmla="*/ 294 h 430"/>
                  <a:gd name="T20" fmla="*/ 488 w 883"/>
                  <a:gd name="T21" fmla="*/ 255 h 430"/>
                  <a:gd name="T22" fmla="*/ 535 w 883"/>
                  <a:gd name="T23" fmla="*/ 255 h 430"/>
                  <a:gd name="T24" fmla="*/ 567 w 883"/>
                  <a:gd name="T25" fmla="*/ 278 h 430"/>
                  <a:gd name="T26" fmla="*/ 638 w 883"/>
                  <a:gd name="T27" fmla="*/ 278 h 430"/>
                  <a:gd name="T28" fmla="*/ 655 w 883"/>
                  <a:gd name="T29" fmla="*/ 251 h 430"/>
                  <a:gd name="T30" fmla="*/ 717 w 883"/>
                  <a:gd name="T31" fmla="*/ 251 h 430"/>
                  <a:gd name="T32" fmla="*/ 774 w 883"/>
                  <a:gd name="T33" fmla="*/ 287 h 430"/>
                  <a:gd name="T34" fmla="*/ 870 w 883"/>
                  <a:gd name="T35" fmla="*/ 225 h 430"/>
                  <a:gd name="T36" fmla="*/ 873 w 883"/>
                  <a:gd name="T37" fmla="*/ 190 h 430"/>
                  <a:gd name="T38" fmla="*/ 101 w 883"/>
                  <a:gd name="T39" fmla="*/ 251 h 430"/>
                  <a:gd name="T40" fmla="*/ 64 w 883"/>
                  <a:gd name="T41" fmla="*/ 213 h 430"/>
                  <a:gd name="T42" fmla="*/ 101 w 883"/>
                  <a:gd name="T43" fmla="*/ 176 h 430"/>
                  <a:gd name="T44" fmla="*/ 139 w 883"/>
                  <a:gd name="T45" fmla="*/ 213 h 430"/>
                  <a:gd name="T46" fmla="*/ 101 w 883"/>
                  <a:gd name="T47" fmla="*/ 25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3" h="430">
                    <a:moveTo>
                      <a:pt x="873" y="190"/>
                    </a:moveTo>
                    <a:cubicBezTo>
                      <a:pt x="821" y="139"/>
                      <a:pt x="821" y="139"/>
                      <a:pt x="821" y="139"/>
                    </a:cubicBezTo>
                    <a:cubicBezTo>
                      <a:pt x="369" y="139"/>
                      <a:pt x="369" y="139"/>
                      <a:pt x="369" y="139"/>
                    </a:cubicBezTo>
                    <a:cubicBezTo>
                      <a:pt x="356" y="102"/>
                      <a:pt x="334" y="68"/>
                      <a:pt x="306" y="44"/>
                    </a:cubicBezTo>
                    <a:cubicBezTo>
                      <a:pt x="273" y="15"/>
                      <a:pt x="233" y="0"/>
                      <a:pt x="190" y="0"/>
                    </a:cubicBezTo>
                    <a:cubicBezTo>
                      <a:pt x="85" y="0"/>
                      <a:pt x="0" y="96"/>
                      <a:pt x="0" y="215"/>
                    </a:cubicBezTo>
                    <a:cubicBezTo>
                      <a:pt x="0" y="334"/>
                      <a:pt x="85" y="430"/>
                      <a:pt x="190" y="430"/>
                    </a:cubicBezTo>
                    <a:cubicBezTo>
                      <a:pt x="232" y="430"/>
                      <a:pt x="272" y="415"/>
                      <a:pt x="305" y="387"/>
                    </a:cubicBezTo>
                    <a:cubicBezTo>
                      <a:pt x="333" y="363"/>
                      <a:pt x="355" y="331"/>
                      <a:pt x="368" y="294"/>
                    </a:cubicBezTo>
                    <a:cubicBezTo>
                      <a:pt x="456" y="294"/>
                      <a:pt x="456" y="294"/>
                      <a:pt x="456" y="294"/>
                    </a:cubicBezTo>
                    <a:cubicBezTo>
                      <a:pt x="488" y="255"/>
                      <a:pt x="488" y="255"/>
                      <a:pt x="488" y="255"/>
                    </a:cubicBezTo>
                    <a:cubicBezTo>
                      <a:pt x="535" y="255"/>
                      <a:pt x="535" y="255"/>
                      <a:pt x="535" y="255"/>
                    </a:cubicBezTo>
                    <a:cubicBezTo>
                      <a:pt x="567" y="278"/>
                      <a:pt x="567" y="278"/>
                      <a:pt x="567" y="278"/>
                    </a:cubicBezTo>
                    <a:cubicBezTo>
                      <a:pt x="638" y="278"/>
                      <a:pt x="638" y="278"/>
                      <a:pt x="638" y="278"/>
                    </a:cubicBezTo>
                    <a:cubicBezTo>
                      <a:pt x="655" y="251"/>
                      <a:pt x="655" y="251"/>
                      <a:pt x="655" y="251"/>
                    </a:cubicBezTo>
                    <a:cubicBezTo>
                      <a:pt x="717" y="251"/>
                      <a:pt x="717" y="251"/>
                      <a:pt x="717" y="251"/>
                    </a:cubicBezTo>
                    <a:cubicBezTo>
                      <a:pt x="774" y="287"/>
                      <a:pt x="774" y="287"/>
                      <a:pt x="774" y="287"/>
                    </a:cubicBezTo>
                    <a:cubicBezTo>
                      <a:pt x="870" y="225"/>
                      <a:pt x="870" y="225"/>
                      <a:pt x="870" y="225"/>
                    </a:cubicBezTo>
                    <a:cubicBezTo>
                      <a:pt x="882" y="217"/>
                      <a:pt x="883" y="200"/>
                      <a:pt x="873" y="190"/>
                    </a:cubicBezTo>
                    <a:close/>
                    <a:moveTo>
                      <a:pt x="101" y="251"/>
                    </a:moveTo>
                    <a:cubicBezTo>
                      <a:pt x="81" y="251"/>
                      <a:pt x="64" y="234"/>
                      <a:pt x="64" y="213"/>
                    </a:cubicBezTo>
                    <a:cubicBezTo>
                      <a:pt x="64" y="193"/>
                      <a:pt x="81" y="176"/>
                      <a:pt x="101" y="176"/>
                    </a:cubicBezTo>
                    <a:cubicBezTo>
                      <a:pt x="122" y="176"/>
                      <a:pt x="139" y="193"/>
                      <a:pt x="139" y="213"/>
                    </a:cubicBezTo>
                    <a:cubicBezTo>
                      <a:pt x="139" y="234"/>
                      <a:pt x="122" y="251"/>
                      <a:pt x="101" y="2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7" name="TextBox 46">
              <a:extLst>
                <a:ext uri="{FF2B5EF4-FFF2-40B4-BE49-F238E27FC236}">
                  <a16:creationId xmlns:a16="http://schemas.microsoft.com/office/drawing/2014/main" id="{6F6BF76D-7421-42C7-9CBF-0157D9350205}"/>
                </a:ext>
              </a:extLst>
            </p:cNvPr>
            <p:cNvSpPr txBox="1"/>
            <p:nvPr/>
          </p:nvSpPr>
          <p:spPr>
            <a:xfrm>
              <a:off x="400051" y="3429179"/>
              <a:ext cx="3540065" cy="1334639"/>
            </a:xfrm>
            <a:prstGeom prst="rect">
              <a:avLst/>
            </a:prstGeom>
            <a:noFill/>
            <a:ln w="9525" cap="rnd" cmpd="sng" algn="ctr">
              <a:solidFill>
                <a:srgbClr val="164484"/>
              </a:solidFill>
              <a:prstDash val="solid"/>
              <a:round/>
              <a:headEnd type="none" w="med" len="med"/>
              <a:tailEnd type="none" w="med" len="med"/>
            </a:ln>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000000"/>
                  </a:solidFill>
                </a:rPr>
                <a:t>Many Americans live in areas that are not covered by high-speed Internet service providers or where service is not reliable </a:t>
              </a:r>
            </a:p>
          </p:txBody>
        </p:sp>
        <p:sp>
          <p:nvSpPr>
            <p:cNvPr id="32" name="Rectangle 31">
              <a:extLst>
                <a:ext uri="{FF2B5EF4-FFF2-40B4-BE49-F238E27FC236}">
                  <a16:creationId xmlns:a16="http://schemas.microsoft.com/office/drawing/2014/main" id="{CB22E954-982D-4889-8122-14E91876196F}"/>
                </a:ext>
              </a:extLst>
            </p:cNvPr>
            <p:cNvSpPr/>
            <p:nvPr/>
          </p:nvSpPr>
          <p:spPr bwMode="gray">
            <a:xfrm>
              <a:off x="4103429" y="2377882"/>
              <a:ext cx="3540065" cy="1051118"/>
            </a:xfrm>
            <a:prstGeom prst="rect">
              <a:avLst/>
            </a:prstGeom>
            <a:solidFill>
              <a:srgbClr val="164484"/>
            </a:solidFill>
            <a:ln w="19050" cap="flat" cmpd="sng" algn="ctr">
              <a:solidFill>
                <a:srgbClr val="164484"/>
              </a:solidFill>
              <a:prstDash val="solid"/>
              <a:miter lim="800000"/>
              <a:headEnd type="none" w="med" len="med"/>
              <a:tailEnd type="none" w="med" len="med"/>
            </a:ln>
          </p:spPr>
          <p:txBody>
            <a:bodyPr wrap="square" lIns="91440" tIns="88900" rIns="91440" bIns="91440" rtlCol="0" anchor="b"/>
            <a:lstStyle/>
            <a:p>
              <a:pPr algn="ctr">
                <a:lnSpc>
                  <a:spcPct val="106000"/>
                </a:lnSpc>
                <a:buFont typeface="Wingdings 2" pitchFamily="18" charset="2"/>
                <a:buNone/>
              </a:pPr>
              <a:r>
                <a:rPr lang="en-US" b="1" dirty="0">
                  <a:solidFill>
                    <a:schemeClr val="bg1"/>
                  </a:solidFill>
                  <a:latin typeface="Arial" panose="020B0604020202020204" pitchFamily="34" charset="0"/>
                  <a:cs typeface="Arial" panose="020B0604020202020204" pitchFamily="34" charset="0"/>
                </a:rPr>
                <a:t>Affordability</a:t>
              </a:r>
              <a:endParaRPr lang="en-US" dirty="0">
                <a:solidFill>
                  <a:schemeClr val="bg1"/>
                </a:solidFill>
                <a:latin typeface="Arial" panose="020B0604020202020204" pitchFamily="34" charset="0"/>
                <a:cs typeface="Arial" panose="020B0604020202020204" pitchFamily="34" charset="0"/>
              </a:endParaRPr>
            </a:p>
          </p:txBody>
        </p:sp>
        <p:grpSp>
          <p:nvGrpSpPr>
            <p:cNvPr id="33" name="Group 32">
              <a:extLst>
                <a:ext uri="{FF2B5EF4-FFF2-40B4-BE49-F238E27FC236}">
                  <a16:creationId xmlns:a16="http://schemas.microsoft.com/office/drawing/2014/main" id="{60B94882-0D39-49AD-BA81-6A7A8E10DBCF}"/>
                </a:ext>
              </a:extLst>
            </p:cNvPr>
            <p:cNvGrpSpPr>
              <a:grpSpLocks noChangeAspect="1"/>
            </p:cNvGrpSpPr>
            <p:nvPr/>
          </p:nvGrpSpPr>
          <p:grpSpPr>
            <a:xfrm>
              <a:off x="5510378" y="2391895"/>
              <a:ext cx="726167" cy="726167"/>
              <a:chOff x="5273675" y="2606675"/>
              <a:chExt cx="1644650" cy="1644650"/>
            </a:xfrm>
          </p:grpSpPr>
          <p:sp>
            <p:nvSpPr>
              <p:cNvPr id="34" name="AutoShape 3">
                <a:extLst>
                  <a:ext uri="{FF2B5EF4-FFF2-40B4-BE49-F238E27FC236}">
                    <a16:creationId xmlns:a16="http://schemas.microsoft.com/office/drawing/2014/main" id="{09754EFF-B5CD-45EB-B98C-11B63D840E4E}"/>
                  </a:ext>
                </a:extLst>
              </p:cNvPr>
              <p:cNvSpPr>
                <a:spLocks noChangeAspect="1" noChangeArrowheads="1" noTextEdit="1"/>
              </p:cNvSpPr>
              <p:nvPr/>
            </p:nvSpPr>
            <p:spPr bwMode="auto">
              <a:xfrm>
                <a:off x="5273675" y="2606675"/>
                <a:ext cx="1644650" cy="164465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12169"/>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solidFill>
                    <a:srgbClr val="012169"/>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BCBE7272-48C3-454A-9860-FD7AD1634864}"/>
                  </a:ext>
                </a:extLst>
              </p:cNvPr>
              <p:cNvGrpSpPr/>
              <p:nvPr/>
            </p:nvGrpSpPr>
            <p:grpSpPr>
              <a:xfrm>
                <a:off x="5511800" y="2859088"/>
                <a:ext cx="1111250" cy="1139825"/>
                <a:chOff x="5511800" y="2859088"/>
                <a:chExt cx="1111250" cy="1139825"/>
              </a:xfrm>
            </p:grpSpPr>
            <p:sp>
              <p:nvSpPr>
                <p:cNvPr id="36" name="Freeform 13">
                  <a:extLst>
                    <a:ext uri="{FF2B5EF4-FFF2-40B4-BE49-F238E27FC236}">
                      <a16:creationId xmlns:a16="http://schemas.microsoft.com/office/drawing/2014/main" id="{DCA16B9A-7A38-4C2F-A2FF-2FA6DBBDDC93}"/>
                    </a:ext>
                  </a:extLst>
                </p:cNvPr>
                <p:cNvSpPr>
                  <a:spLocks/>
                </p:cNvSpPr>
                <p:nvPr/>
              </p:nvSpPr>
              <p:spPr bwMode="auto">
                <a:xfrm>
                  <a:off x="6124575" y="2928938"/>
                  <a:ext cx="436563" cy="1000125"/>
                </a:xfrm>
                <a:custGeom>
                  <a:avLst/>
                  <a:gdLst>
                    <a:gd name="connsiteX0" fmla="*/ 436563 w 436563"/>
                    <a:gd name="connsiteY0" fmla="*/ 579437 h 1000125"/>
                    <a:gd name="connsiteX1" fmla="*/ 436563 w 436563"/>
                    <a:gd name="connsiteY1" fmla="*/ 862277 h 1000125"/>
                    <a:gd name="connsiteX2" fmla="*/ 436563 w 436563"/>
                    <a:gd name="connsiteY2" fmla="*/ 929415 h 1000125"/>
                    <a:gd name="connsiteX3" fmla="*/ 433715 w 436563"/>
                    <a:gd name="connsiteY3" fmla="*/ 930844 h 1000125"/>
                    <a:gd name="connsiteX4" fmla="*/ 418047 w 436563"/>
                    <a:gd name="connsiteY4" fmla="*/ 928701 h 1000125"/>
                    <a:gd name="connsiteX5" fmla="*/ 367482 w 436563"/>
                    <a:gd name="connsiteY5" fmla="*/ 980126 h 1000125"/>
                    <a:gd name="connsiteX6" fmla="*/ 370331 w 436563"/>
                    <a:gd name="connsiteY6" fmla="*/ 997268 h 1000125"/>
                    <a:gd name="connsiteX7" fmla="*/ 368194 w 436563"/>
                    <a:gd name="connsiteY7" fmla="*/ 1000125 h 1000125"/>
                    <a:gd name="connsiteX8" fmla="*/ 66945 w 436563"/>
                    <a:gd name="connsiteY8" fmla="*/ 1000125 h 1000125"/>
                    <a:gd name="connsiteX9" fmla="*/ 64808 w 436563"/>
                    <a:gd name="connsiteY9" fmla="*/ 997268 h 1000125"/>
                    <a:gd name="connsiteX10" fmla="*/ 68369 w 436563"/>
                    <a:gd name="connsiteY10" fmla="*/ 980126 h 1000125"/>
                    <a:gd name="connsiteX11" fmla="*/ 17092 w 436563"/>
                    <a:gd name="connsiteY11" fmla="*/ 928701 h 1000125"/>
                    <a:gd name="connsiteX12" fmla="*/ 2137 w 436563"/>
                    <a:gd name="connsiteY12" fmla="*/ 930844 h 1000125"/>
                    <a:gd name="connsiteX13" fmla="*/ 0 w 436563"/>
                    <a:gd name="connsiteY13" fmla="*/ 928701 h 1000125"/>
                    <a:gd name="connsiteX14" fmla="*/ 0 w 436563"/>
                    <a:gd name="connsiteY14" fmla="*/ 862277 h 1000125"/>
                    <a:gd name="connsiteX15" fmla="*/ 0 w 436563"/>
                    <a:gd name="connsiteY15" fmla="*/ 762283 h 1000125"/>
                    <a:gd name="connsiteX16" fmla="*/ 121070 w 436563"/>
                    <a:gd name="connsiteY16" fmla="*/ 827279 h 1000125"/>
                    <a:gd name="connsiteX17" fmla="*/ 194424 w 436563"/>
                    <a:gd name="connsiteY17" fmla="*/ 846563 h 1000125"/>
                    <a:gd name="connsiteX18" fmla="*/ 292704 w 436563"/>
                    <a:gd name="connsiteY18" fmla="*/ 802280 h 1000125"/>
                    <a:gd name="connsiteX19" fmla="*/ 324752 w 436563"/>
                    <a:gd name="connsiteY19" fmla="*/ 763711 h 1000125"/>
                    <a:gd name="connsiteX20" fmla="*/ 330449 w 436563"/>
                    <a:gd name="connsiteY20" fmla="*/ 752283 h 1000125"/>
                    <a:gd name="connsiteX21" fmla="*/ 319767 w 436563"/>
                    <a:gd name="connsiteY21" fmla="*/ 730142 h 1000125"/>
                    <a:gd name="connsiteX22" fmla="*/ 212228 w 436563"/>
                    <a:gd name="connsiteY22" fmla="*/ 666575 h 1000125"/>
                    <a:gd name="connsiteX23" fmla="*/ 217926 w 436563"/>
                    <a:gd name="connsiteY23" fmla="*/ 666575 h 1000125"/>
                    <a:gd name="connsiteX24" fmla="*/ 436563 w 436563"/>
                    <a:gd name="connsiteY24" fmla="*/ 579437 h 1000125"/>
                    <a:gd name="connsiteX25" fmla="*/ 67657 w 436563"/>
                    <a:gd name="connsiteY25" fmla="*/ 0 h 1000125"/>
                    <a:gd name="connsiteX26" fmla="*/ 367482 w 436563"/>
                    <a:gd name="connsiteY26" fmla="*/ 0 h 1000125"/>
                    <a:gd name="connsiteX27" fmla="*/ 369619 w 436563"/>
                    <a:gd name="connsiteY27" fmla="*/ 3571 h 1000125"/>
                    <a:gd name="connsiteX28" fmla="*/ 367482 w 436563"/>
                    <a:gd name="connsiteY28" fmla="*/ 19285 h 1000125"/>
                    <a:gd name="connsiteX29" fmla="*/ 418047 w 436563"/>
                    <a:gd name="connsiteY29" fmla="*/ 70710 h 1000125"/>
                    <a:gd name="connsiteX30" fmla="*/ 433715 w 436563"/>
                    <a:gd name="connsiteY30" fmla="*/ 68567 h 1000125"/>
                    <a:gd name="connsiteX31" fmla="*/ 435139 w 436563"/>
                    <a:gd name="connsiteY31" fmla="*/ 68567 h 1000125"/>
                    <a:gd name="connsiteX32" fmla="*/ 435851 w 436563"/>
                    <a:gd name="connsiteY32" fmla="*/ 68567 h 1000125"/>
                    <a:gd name="connsiteX33" fmla="*/ 436563 w 436563"/>
                    <a:gd name="connsiteY33" fmla="*/ 69282 h 1000125"/>
                    <a:gd name="connsiteX34" fmla="*/ 436563 w 436563"/>
                    <a:gd name="connsiteY34" fmla="*/ 69996 h 1000125"/>
                    <a:gd name="connsiteX35" fmla="*/ 436563 w 436563"/>
                    <a:gd name="connsiteY35" fmla="*/ 325694 h 1000125"/>
                    <a:gd name="connsiteX36" fmla="*/ 436563 w 436563"/>
                    <a:gd name="connsiteY36" fmla="*/ 420688 h 1000125"/>
                    <a:gd name="connsiteX37" fmla="*/ 229320 w 436563"/>
                    <a:gd name="connsiteY37" fmla="*/ 333551 h 1000125"/>
                    <a:gd name="connsiteX38" fmla="*/ 217926 w 436563"/>
                    <a:gd name="connsiteY38" fmla="*/ 333551 h 1000125"/>
                    <a:gd name="connsiteX39" fmla="*/ 96144 w 436563"/>
                    <a:gd name="connsiteY39" fmla="*/ 354978 h 1000125"/>
                    <a:gd name="connsiteX40" fmla="*/ 19229 w 436563"/>
                    <a:gd name="connsiteY40" fmla="*/ 399975 h 1000125"/>
                    <a:gd name="connsiteX41" fmla="*/ 0 w 436563"/>
                    <a:gd name="connsiteY41" fmla="*/ 420688 h 1000125"/>
                    <a:gd name="connsiteX42" fmla="*/ 0 w 436563"/>
                    <a:gd name="connsiteY42" fmla="*/ 411403 h 1000125"/>
                    <a:gd name="connsiteX43" fmla="*/ 0 w 436563"/>
                    <a:gd name="connsiteY43" fmla="*/ 393547 h 1000125"/>
                    <a:gd name="connsiteX44" fmla="*/ 0 w 436563"/>
                    <a:gd name="connsiteY44" fmla="*/ 374977 h 1000125"/>
                    <a:gd name="connsiteX45" fmla="*/ 0 w 436563"/>
                    <a:gd name="connsiteY45" fmla="*/ 339979 h 1000125"/>
                    <a:gd name="connsiteX46" fmla="*/ 0 w 436563"/>
                    <a:gd name="connsiteY46" fmla="*/ 325694 h 1000125"/>
                    <a:gd name="connsiteX47" fmla="*/ 0 w 436563"/>
                    <a:gd name="connsiteY47" fmla="*/ 322123 h 1000125"/>
                    <a:gd name="connsiteX48" fmla="*/ 0 w 436563"/>
                    <a:gd name="connsiteY48" fmla="*/ 304267 h 1000125"/>
                    <a:gd name="connsiteX49" fmla="*/ 0 w 436563"/>
                    <a:gd name="connsiteY49" fmla="*/ 249270 h 1000125"/>
                    <a:gd name="connsiteX50" fmla="*/ 0 w 436563"/>
                    <a:gd name="connsiteY50" fmla="*/ 70710 h 1000125"/>
                    <a:gd name="connsiteX51" fmla="*/ 2137 w 436563"/>
                    <a:gd name="connsiteY51" fmla="*/ 68567 h 1000125"/>
                    <a:gd name="connsiteX52" fmla="*/ 17092 w 436563"/>
                    <a:gd name="connsiteY52" fmla="*/ 70710 h 1000125"/>
                    <a:gd name="connsiteX53" fmla="*/ 68369 w 436563"/>
                    <a:gd name="connsiteY53" fmla="*/ 19285 h 1000125"/>
                    <a:gd name="connsiteX54" fmla="*/ 65520 w 436563"/>
                    <a:gd name="connsiteY54" fmla="*/ 3571 h 1000125"/>
                    <a:gd name="connsiteX55" fmla="*/ 67657 w 436563"/>
                    <a:gd name="connsiteY55" fmla="*/ 0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36563" h="1000125">
                      <a:moveTo>
                        <a:pt x="436563" y="579437"/>
                      </a:moveTo>
                      <a:cubicBezTo>
                        <a:pt x="436563" y="579437"/>
                        <a:pt x="436563" y="579437"/>
                        <a:pt x="436563" y="862277"/>
                      </a:cubicBezTo>
                      <a:cubicBezTo>
                        <a:pt x="436563" y="882990"/>
                        <a:pt x="436563" y="905131"/>
                        <a:pt x="436563" y="929415"/>
                      </a:cubicBezTo>
                      <a:cubicBezTo>
                        <a:pt x="436563" y="930844"/>
                        <a:pt x="435851" y="931558"/>
                        <a:pt x="433715" y="930844"/>
                      </a:cubicBezTo>
                      <a:cubicBezTo>
                        <a:pt x="428729" y="929415"/>
                        <a:pt x="423744" y="928701"/>
                        <a:pt x="418047" y="928701"/>
                      </a:cubicBezTo>
                      <a:cubicBezTo>
                        <a:pt x="389560" y="928701"/>
                        <a:pt x="367482" y="951557"/>
                        <a:pt x="367482" y="980126"/>
                      </a:cubicBezTo>
                      <a:cubicBezTo>
                        <a:pt x="367482" y="985840"/>
                        <a:pt x="368194" y="992268"/>
                        <a:pt x="370331" y="997268"/>
                      </a:cubicBezTo>
                      <a:cubicBezTo>
                        <a:pt x="371043" y="998697"/>
                        <a:pt x="369619" y="1000125"/>
                        <a:pt x="368194" y="1000125"/>
                      </a:cubicBezTo>
                      <a:cubicBezTo>
                        <a:pt x="368194" y="1000125"/>
                        <a:pt x="368194" y="1000125"/>
                        <a:pt x="66945" y="1000125"/>
                      </a:cubicBezTo>
                      <a:cubicBezTo>
                        <a:pt x="65520" y="1000125"/>
                        <a:pt x="64096" y="998697"/>
                        <a:pt x="64808" y="997268"/>
                      </a:cubicBezTo>
                      <a:cubicBezTo>
                        <a:pt x="66945" y="992268"/>
                        <a:pt x="68369" y="985840"/>
                        <a:pt x="68369" y="980126"/>
                      </a:cubicBezTo>
                      <a:cubicBezTo>
                        <a:pt x="68369" y="951557"/>
                        <a:pt x="45579" y="928701"/>
                        <a:pt x="17092" y="928701"/>
                      </a:cubicBezTo>
                      <a:cubicBezTo>
                        <a:pt x="12107" y="928701"/>
                        <a:pt x="7122" y="929415"/>
                        <a:pt x="2137" y="930844"/>
                      </a:cubicBezTo>
                      <a:cubicBezTo>
                        <a:pt x="1425" y="930844"/>
                        <a:pt x="0" y="930130"/>
                        <a:pt x="0" y="928701"/>
                      </a:cubicBezTo>
                      <a:cubicBezTo>
                        <a:pt x="0" y="928701"/>
                        <a:pt x="0" y="928701"/>
                        <a:pt x="0" y="862277"/>
                      </a:cubicBezTo>
                      <a:cubicBezTo>
                        <a:pt x="0" y="862277"/>
                        <a:pt x="0" y="862277"/>
                        <a:pt x="0" y="762283"/>
                      </a:cubicBezTo>
                      <a:cubicBezTo>
                        <a:pt x="58399" y="793709"/>
                        <a:pt x="105402" y="817994"/>
                        <a:pt x="121070" y="827279"/>
                      </a:cubicBezTo>
                      <a:cubicBezTo>
                        <a:pt x="145284" y="840135"/>
                        <a:pt x="169498" y="846563"/>
                        <a:pt x="194424" y="846563"/>
                      </a:cubicBezTo>
                      <a:cubicBezTo>
                        <a:pt x="239291" y="846563"/>
                        <a:pt x="274900" y="823708"/>
                        <a:pt x="292704" y="802280"/>
                      </a:cubicBezTo>
                      <a:cubicBezTo>
                        <a:pt x="292704" y="802280"/>
                        <a:pt x="292704" y="802280"/>
                        <a:pt x="324752" y="763711"/>
                      </a:cubicBezTo>
                      <a:cubicBezTo>
                        <a:pt x="327601" y="760854"/>
                        <a:pt x="329737" y="757283"/>
                        <a:pt x="330449" y="752283"/>
                      </a:cubicBezTo>
                      <a:cubicBezTo>
                        <a:pt x="331874" y="742998"/>
                        <a:pt x="327601" y="734427"/>
                        <a:pt x="319767" y="730142"/>
                      </a:cubicBezTo>
                      <a:cubicBezTo>
                        <a:pt x="319767" y="730142"/>
                        <a:pt x="319767" y="730142"/>
                        <a:pt x="212228" y="666575"/>
                      </a:cubicBezTo>
                      <a:cubicBezTo>
                        <a:pt x="214365" y="666575"/>
                        <a:pt x="215789" y="666575"/>
                        <a:pt x="217926" y="666575"/>
                      </a:cubicBezTo>
                      <a:cubicBezTo>
                        <a:pt x="312645" y="666575"/>
                        <a:pt x="394545" y="631577"/>
                        <a:pt x="436563" y="579437"/>
                      </a:cubicBezTo>
                      <a:close/>
                      <a:moveTo>
                        <a:pt x="67657" y="0"/>
                      </a:moveTo>
                      <a:cubicBezTo>
                        <a:pt x="67657" y="0"/>
                        <a:pt x="67657" y="0"/>
                        <a:pt x="367482" y="0"/>
                      </a:cubicBezTo>
                      <a:cubicBezTo>
                        <a:pt x="369619" y="0"/>
                        <a:pt x="370331" y="1429"/>
                        <a:pt x="369619" y="3571"/>
                      </a:cubicBezTo>
                      <a:cubicBezTo>
                        <a:pt x="368194" y="7857"/>
                        <a:pt x="367482" y="13571"/>
                        <a:pt x="367482" y="19285"/>
                      </a:cubicBezTo>
                      <a:cubicBezTo>
                        <a:pt x="367482" y="47854"/>
                        <a:pt x="389560" y="70710"/>
                        <a:pt x="418047" y="70710"/>
                      </a:cubicBezTo>
                      <a:cubicBezTo>
                        <a:pt x="423744" y="70710"/>
                        <a:pt x="428729" y="69996"/>
                        <a:pt x="433715" y="68567"/>
                      </a:cubicBezTo>
                      <a:cubicBezTo>
                        <a:pt x="434427" y="68567"/>
                        <a:pt x="434427" y="68567"/>
                        <a:pt x="435139" y="68567"/>
                      </a:cubicBezTo>
                      <a:cubicBezTo>
                        <a:pt x="435851" y="68567"/>
                        <a:pt x="435851" y="68567"/>
                        <a:pt x="435851" y="68567"/>
                      </a:cubicBezTo>
                      <a:cubicBezTo>
                        <a:pt x="435851" y="68567"/>
                        <a:pt x="436563" y="68567"/>
                        <a:pt x="436563" y="69282"/>
                      </a:cubicBezTo>
                      <a:cubicBezTo>
                        <a:pt x="436563" y="69996"/>
                        <a:pt x="436563" y="69996"/>
                        <a:pt x="436563" y="69996"/>
                      </a:cubicBezTo>
                      <a:cubicBezTo>
                        <a:pt x="436563" y="69996"/>
                        <a:pt x="436563" y="69996"/>
                        <a:pt x="436563" y="325694"/>
                      </a:cubicBezTo>
                      <a:cubicBezTo>
                        <a:pt x="436563" y="354264"/>
                        <a:pt x="436563" y="385690"/>
                        <a:pt x="436563" y="420688"/>
                      </a:cubicBezTo>
                      <a:cubicBezTo>
                        <a:pt x="395969" y="370691"/>
                        <a:pt x="319054" y="336408"/>
                        <a:pt x="229320" y="333551"/>
                      </a:cubicBezTo>
                      <a:cubicBezTo>
                        <a:pt x="225760" y="333551"/>
                        <a:pt x="222199" y="333551"/>
                        <a:pt x="217926" y="333551"/>
                      </a:cubicBezTo>
                      <a:cubicBezTo>
                        <a:pt x="173771" y="333551"/>
                        <a:pt x="132465" y="341407"/>
                        <a:pt x="96144" y="354978"/>
                      </a:cubicBezTo>
                      <a:cubicBezTo>
                        <a:pt x="66232" y="366406"/>
                        <a:pt x="39882" y="381405"/>
                        <a:pt x="19229" y="399975"/>
                      </a:cubicBezTo>
                      <a:cubicBezTo>
                        <a:pt x="12107" y="406403"/>
                        <a:pt x="5698" y="413546"/>
                        <a:pt x="0" y="420688"/>
                      </a:cubicBezTo>
                      <a:cubicBezTo>
                        <a:pt x="0" y="417831"/>
                        <a:pt x="0" y="414974"/>
                        <a:pt x="0" y="411403"/>
                      </a:cubicBezTo>
                      <a:cubicBezTo>
                        <a:pt x="0" y="406403"/>
                        <a:pt x="0" y="400689"/>
                        <a:pt x="0" y="393547"/>
                      </a:cubicBezTo>
                      <a:cubicBezTo>
                        <a:pt x="0" y="387833"/>
                        <a:pt x="0" y="382119"/>
                        <a:pt x="0" y="374977"/>
                      </a:cubicBezTo>
                      <a:cubicBezTo>
                        <a:pt x="0" y="364977"/>
                        <a:pt x="0" y="353549"/>
                        <a:pt x="0" y="339979"/>
                      </a:cubicBezTo>
                      <a:cubicBezTo>
                        <a:pt x="0" y="335693"/>
                        <a:pt x="0" y="330694"/>
                        <a:pt x="0" y="325694"/>
                      </a:cubicBezTo>
                      <a:cubicBezTo>
                        <a:pt x="0" y="324266"/>
                        <a:pt x="0" y="323551"/>
                        <a:pt x="0" y="322123"/>
                      </a:cubicBezTo>
                      <a:cubicBezTo>
                        <a:pt x="0" y="316409"/>
                        <a:pt x="0" y="310695"/>
                        <a:pt x="0" y="304267"/>
                      </a:cubicBezTo>
                      <a:cubicBezTo>
                        <a:pt x="0" y="287839"/>
                        <a:pt x="0" y="269983"/>
                        <a:pt x="0" y="249270"/>
                      </a:cubicBezTo>
                      <a:cubicBezTo>
                        <a:pt x="0" y="202130"/>
                        <a:pt x="0" y="143563"/>
                        <a:pt x="0" y="70710"/>
                      </a:cubicBezTo>
                      <a:cubicBezTo>
                        <a:pt x="0" y="69282"/>
                        <a:pt x="1425" y="68567"/>
                        <a:pt x="2137" y="68567"/>
                      </a:cubicBezTo>
                      <a:cubicBezTo>
                        <a:pt x="7122" y="69996"/>
                        <a:pt x="12107" y="70710"/>
                        <a:pt x="17092" y="70710"/>
                      </a:cubicBezTo>
                      <a:cubicBezTo>
                        <a:pt x="45579" y="70710"/>
                        <a:pt x="68369" y="47854"/>
                        <a:pt x="68369" y="19285"/>
                      </a:cubicBezTo>
                      <a:cubicBezTo>
                        <a:pt x="68369" y="13571"/>
                        <a:pt x="66945" y="7857"/>
                        <a:pt x="65520" y="3571"/>
                      </a:cubicBezTo>
                      <a:cubicBezTo>
                        <a:pt x="64808" y="1429"/>
                        <a:pt x="66232" y="0"/>
                        <a:pt x="67657"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012169"/>
                    </a:solidFill>
                    <a:latin typeface="Arial" panose="020B0604020202020204" pitchFamily="34" charset="0"/>
                    <a:cs typeface="Arial" panose="020B0604020202020204" pitchFamily="34" charset="0"/>
                  </a:endParaRPr>
                </a:p>
              </p:txBody>
            </p:sp>
            <p:sp>
              <p:nvSpPr>
                <p:cNvPr id="37" name="Freeform 14">
                  <a:extLst>
                    <a:ext uri="{FF2B5EF4-FFF2-40B4-BE49-F238E27FC236}">
                      <a16:creationId xmlns:a16="http://schemas.microsoft.com/office/drawing/2014/main" id="{4EFB2A02-6684-4898-9663-1857F327CA28}"/>
                    </a:ext>
                  </a:extLst>
                </p:cNvPr>
                <p:cNvSpPr>
                  <a:spLocks/>
                </p:cNvSpPr>
                <p:nvPr/>
              </p:nvSpPr>
              <p:spPr bwMode="auto">
                <a:xfrm>
                  <a:off x="5511800" y="2859088"/>
                  <a:ext cx="1111250" cy="1139825"/>
                </a:xfrm>
                <a:custGeom>
                  <a:avLst/>
                  <a:gdLst>
                    <a:gd name="connsiteX0" fmla="*/ 131325 w 1111250"/>
                    <a:gd name="connsiteY0" fmla="*/ 673100 h 1139825"/>
                    <a:gd name="connsiteX1" fmla="*/ 31750 w 1111250"/>
                    <a:gd name="connsiteY1" fmla="*/ 772319 h 1139825"/>
                    <a:gd name="connsiteX2" fmla="*/ 131325 w 1111250"/>
                    <a:gd name="connsiteY2" fmla="*/ 871538 h 1139825"/>
                    <a:gd name="connsiteX3" fmla="*/ 216675 w 1111250"/>
                    <a:gd name="connsiteY3" fmla="*/ 821572 h 1139825"/>
                    <a:gd name="connsiteX4" fmla="*/ 229477 w 1111250"/>
                    <a:gd name="connsiteY4" fmla="*/ 783026 h 1139825"/>
                    <a:gd name="connsiteX5" fmla="*/ 230188 w 1111250"/>
                    <a:gd name="connsiteY5" fmla="*/ 772319 h 1139825"/>
                    <a:gd name="connsiteX6" fmla="*/ 190358 w 1111250"/>
                    <a:gd name="connsiteY6" fmla="*/ 693087 h 1139825"/>
                    <a:gd name="connsiteX7" fmla="*/ 156930 w 1111250"/>
                    <a:gd name="connsiteY7" fmla="*/ 675955 h 1139825"/>
                    <a:gd name="connsiteX8" fmla="*/ 131325 w 1111250"/>
                    <a:gd name="connsiteY8" fmla="*/ 673100 h 1139825"/>
                    <a:gd name="connsiteX9" fmla="*/ 498232 w 1111250"/>
                    <a:gd name="connsiteY9" fmla="*/ 604837 h 1139825"/>
                    <a:gd name="connsiteX10" fmla="*/ 548910 w 1111250"/>
                    <a:gd name="connsiteY10" fmla="*/ 634832 h 1139825"/>
                    <a:gd name="connsiteX11" fmla="*/ 580316 w 1111250"/>
                    <a:gd name="connsiteY11" fmla="*/ 653400 h 1139825"/>
                    <a:gd name="connsiteX12" fmla="*/ 611723 w 1111250"/>
                    <a:gd name="connsiteY12" fmla="*/ 671254 h 1139825"/>
                    <a:gd name="connsiteX13" fmla="*/ 863687 w 1111250"/>
                    <a:gd name="connsiteY13" fmla="*/ 818371 h 1139825"/>
                    <a:gd name="connsiteX14" fmla="*/ 870824 w 1111250"/>
                    <a:gd name="connsiteY14" fmla="*/ 828369 h 1139825"/>
                    <a:gd name="connsiteX15" fmla="*/ 867256 w 1111250"/>
                    <a:gd name="connsiteY15" fmla="*/ 841224 h 1139825"/>
                    <a:gd name="connsiteX16" fmla="*/ 806584 w 1111250"/>
                    <a:gd name="connsiteY16" fmla="*/ 868362 h 1139825"/>
                    <a:gd name="connsiteX17" fmla="*/ 756620 w 1111250"/>
                    <a:gd name="connsiteY17" fmla="*/ 854079 h 1139825"/>
                    <a:gd name="connsiteX18" fmla="*/ 611723 w 1111250"/>
                    <a:gd name="connsiteY18" fmla="*/ 777664 h 1139825"/>
                    <a:gd name="connsiteX19" fmla="*/ 580316 w 1111250"/>
                    <a:gd name="connsiteY19" fmla="*/ 761238 h 1139825"/>
                    <a:gd name="connsiteX20" fmla="*/ 548910 w 1111250"/>
                    <a:gd name="connsiteY20" fmla="*/ 744812 h 1139825"/>
                    <a:gd name="connsiteX21" fmla="*/ 396875 w 1111250"/>
                    <a:gd name="connsiteY21" fmla="*/ 664827 h 1139825"/>
                    <a:gd name="connsiteX22" fmla="*/ 413292 w 1111250"/>
                    <a:gd name="connsiteY22" fmla="*/ 654828 h 1139825"/>
                    <a:gd name="connsiteX23" fmla="*/ 428995 w 1111250"/>
                    <a:gd name="connsiteY23" fmla="*/ 645544 h 1139825"/>
                    <a:gd name="connsiteX24" fmla="*/ 466826 w 1111250"/>
                    <a:gd name="connsiteY24" fmla="*/ 623405 h 1139825"/>
                    <a:gd name="connsiteX25" fmla="*/ 482529 w 1111250"/>
                    <a:gd name="connsiteY25" fmla="*/ 614121 h 1139825"/>
                    <a:gd name="connsiteX26" fmla="*/ 498232 w 1111250"/>
                    <a:gd name="connsiteY26" fmla="*/ 604837 h 1139825"/>
                    <a:gd name="connsiteX27" fmla="*/ 130969 w 1111250"/>
                    <a:gd name="connsiteY27" fmla="*/ 279400 h 1139825"/>
                    <a:gd name="connsiteX28" fmla="*/ 31750 w 1111250"/>
                    <a:gd name="connsiteY28" fmla="*/ 377905 h 1139825"/>
                    <a:gd name="connsiteX29" fmla="*/ 130969 w 1111250"/>
                    <a:gd name="connsiteY29" fmla="*/ 477838 h 1139825"/>
                    <a:gd name="connsiteX30" fmla="*/ 156666 w 1111250"/>
                    <a:gd name="connsiteY30" fmla="*/ 474269 h 1139825"/>
                    <a:gd name="connsiteX31" fmla="*/ 190215 w 1111250"/>
                    <a:gd name="connsiteY31" fmla="*/ 457852 h 1139825"/>
                    <a:gd name="connsiteX32" fmla="*/ 230188 w 1111250"/>
                    <a:gd name="connsiteY32" fmla="*/ 377905 h 1139825"/>
                    <a:gd name="connsiteX33" fmla="*/ 229474 w 1111250"/>
                    <a:gd name="connsiteY33" fmla="*/ 367912 h 1139825"/>
                    <a:gd name="connsiteX34" fmla="*/ 216626 w 1111250"/>
                    <a:gd name="connsiteY34" fmla="*/ 328653 h 1139825"/>
                    <a:gd name="connsiteX35" fmla="*/ 130969 w 1111250"/>
                    <a:gd name="connsiteY35" fmla="*/ 279400 h 1139825"/>
                    <a:gd name="connsiteX36" fmla="*/ 130765 w 1111250"/>
                    <a:gd name="connsiteY36" fmla="*/ 247650 h 1139825"/>
                    <a:gd name="connsiteX37" fmla="*/ 246523 w 1111250"/>
                    <a:gd name="connsiteY37" fmla="*/ 317602 h 1139825"/>
                    <a:gd name="connsiteX38" fmla="*/ 255098 w 1111250"/>
                    <a:gd name="connsiteY38" fmla="*/ 336874 h 1139825"/>
                    <a:gd name="connsiteX39" fmla="*/ 307975 w 1111250"/>
                    <a:gd name="connsiteY39" fmla="*/ 478205 h 1139825"/>
                    <a:gd name="connsiteX40" fmla="*/ 293684 w 1111250"/>
                    <a:gd name="connsiteY40" fmla="*/ 486056 h 1139825"/>
                    <a:gd name="connsiteX41" fmla="*/ 280107 w 1111250"/>
                    <a:gd name="connsiteY41" fmla="*/ 493194 h 1139825"/>
                    <a:gd name="connsiteX42" fmla="*/ 232947 w 1111250"/>
                    <a:gd name="connsiteY42" fmla="*/ 517463 h 1139825"/>
                    <a:gd name="connsiteX43" fmla="*/ 232232 w 1111250"/>
                    <a:gd name="connsiteY43" fmla="*/ 517463 h 1139825"/>
                    <a:gd name="connsiteX44" fmla="*/ 225801 w 1111250"/>
                    <a:gd name="connsiteY44" fmla="*/ 521032 h 1139825"/>
                    <a:gd name="connsiteX45" fmla="*/ 219370 w 1111250"/>
                    <a:gd name="connsiteY45" fmla="*/ 526029 h 1139825"/>
                    <a:gd name="connsiteX46" fmla="*/ 208652 w 1111250"/>
                    <a:gd name="connsiteY46" fmla="*/ 538163 h 1139825"/>
                    <a:gd name="connsiteX47" fmla="*/ 175067 w 1111250"/>
                    <a:gd name="connsiteY47" fmla="*/ 501046 h 1139825"/>
                    <a:gd name="connsiteX48" fmla="*/ 130765 w 1111250"/>
                    <a:gd name="connsiteY48" fmla="*/ 508184 h 1139825"/>
                    <a:gd name="connsiteX49" fmla="*/ 125763 w 1111250"/>
                    <a:gd name="connsiteY49" fmla="*/ 507470 h 1139825"/>
                    <a:gd name="connsiteX50" fmla="*/ 0 w 1111250"/>
                    <a:gd name="connsiteY50" fmla="*/ 377560 h 1139825"/>
                    <a:gd name="connsiteX51" fmla="*/ 130765 w 1111250"/>
                    <a:gd name="connsiteY51" fmla="*/ 247650 h 1139825"/>
                    <a:gd name="connsiteX52" fmla="*/ 564547 w 1111250"/>
                    <a:gd name="connsiteY52" fmla="*/ 0 h 1139825"/>
                    <a:gd name="connsiteX53" fmla="*/ 1095549 w 1111250"/>
                    <a:gd name="connsiteY53" fmla="*/ 0 h 1139825"/>
                    <a:gd name="connsiteX54" fmla="*/ 1111250 w 1111250"/>
                    <a:gd name="connsiteY54" fmla="*/ 15692 h 1139825"/>
                    <a:gd name="connsiteX55" fmla="*/ 1111250 w 1111250"/>
                    <a:gd name="connsiteY55" fmla="*/ 1124133 h 1139825"/>
                    <a:gd name="connsiteX56" fmla="*/ 1095549 w 1111250"/>
                    <a:gd name="connsiteY56" fmla="*/ 1139825 h 1139825"/>
                    <a:gd name="connsiteX57" fmla="*/ 564547 w 1111250"/>
                    <a:gd name="connsiteY57" fmla="*/ 1139825 h 1139825"/>
                    <a:gd name="connsiteX58" fmla="*/ 548845 w 1111250"/>
                    <a:gd name="connsiteY58" fmla="*/ 1124133 h 1139825"/>
                    <a:gd name="connsiteX59" fmla="*/ 548845 w 1111250"/>
                    <a:gd name="connsiteY59" fmla="*/ 798876 h 1139825"/>
                    <a:gd name="connsiteX60" fmla="*/ 580248 w 1111250"/>
                    <a:gd name="connsiteY60" fmla="*/ 815995 h 1139825"/>
                    <a:gd name="connsiteX61" fmla="*/ 580248 w 1111250"/>
                    <a:gd name="connsiteY61" fmla="*/ 1108441 h 1139825"/>
                    <a:gd name="connsiteX62" fmla="*/ 1079847 w 1111250"/>
                    <a:gd name="connsiteY62" fmla="*/ 1108441 h 1139825"/>
                    <a:gd name="connsiteX63" fmla="*/ 1079847 w 1111250"/>
                    <a:gd name="connsiteY63" fmla="*/ 538528 h 1139825"/>
                    <a:gd name="connsiteX64" fmla="*/ 1080561 w 1111250"/>
                    <a:gd name="connsiteY64" fmla="*/ 538528 h 1139825"/>
                    <a:gd name="connsiteX65" fmla="*/ 1080561 w 1111250"/>
                    <a:gd name="connsiteY65" fmla="*/ 507144 h 1139825"/>
                    <a:gd name="connsiteX66" fmla="*/ 1080561 w 1111250"/>
                    <a:gd name="connsiteY66" fmla="*/ 394445 h 1139825"/>
                    <a:gd name="connsiteX67" fmla="*/ 1080561 w 1111250"/>
                    <a:gd name="connsiteY67" fmla="*/ 139803 h 1139825"/>
                    <a:gd name="connsiteX68" fmla="*/ 1079847 w 1111250"/>
                    <a:gd name="connsiteY68" fmla="*/ 134810 h 1139825"/>
                    <a:gd name="connsiteX69" fmla="*/ 1079847 w 1111250"/>
                    <a:gd name="connsiteY69" fmla="*/ 31385 h 1139825"/>
                    <a:gd name="connsiteX70" fmla="*/ 580248 w 1111250"/>
                    <a:gd name="connsiteY70" fmla="*/ 31385 h 1139825"/>
                    <a:gd name="connsiteX71" fmla="*/ 580248 w 1111250"/>
                    <a:gd name="connsiteY71" fmla="*/ 135524 h 1139825"/>
                    <a:gd name="connsiteX72" fmla="*/ 580248 w 1111250"/>
                    <a:gd name="connsiteY72" fmla="*/ 334530 h 1139825"/>
                    <a:gd name="connsiteX73" fmla="*/ 580248 w 1111250"/>
                    <a:gd name="connsiteY73" fmla="*/ 389452 h 1139825"/>
                    <a:gd name="connsiteX74" fmla="*/ 580248 w 1111250"/>
                    <a:gd name="connsiteY74" fmla="*/ 407284 h 1139825"/>
                    <a:gd name="connsiteX75" fmla="*/ 580248 w 1111250"/>
                    <a:gd name="connsiteY75" fmla="*/ 425116 h 1139825"/>
                    <a:gd name="connsiteX76" fmla="*/ 580248 w 1111250"/>
                    <a:gd name="connsiteY76" fmla="*/ 462207 h 1139825"/>
                    <a:gd name="connsiteX77" fmla="*/ 580248 w 1111250"/>
                    <a:gd name="connsiteY77" fmla="*/ 480039 h 1139825"/>
                    <a:gd name="connsiteX78" fmla="*/ 580248 w 1111250"/>
                    <a:gd name="connsiteY78" fmla="*/ 498584 h 1139825"/>
                    <a:gd name="connsiteX79" fmla="*/ 580248 w 1111250"/>
                    <a:gd name="connsiteY79" fmla="*/ 538528 h 1139825"/>
                    <a:gd name="connsiteX80" fmla="*/ 580248 w 1111250"/>
                    <a:gd name="connsiteY80" fmla="*/ 554934 h 1139825"/>
                    <a:gd name="connsiteX81" fmla="*/ 580248 w 1111250"/>
                    <a:gd name="connsiteY81" fmla="*/ 575619 h 1139825"/>
                    <a:gd name="connsiteX82" fmla="*/ 580248 w 1111250"/>
                    <a:gd name="connsiteY82" fmla="*/ 594878 h 1139825"/>
                    <a:gd name="connsiteX83" fmla="*/ 548845 w 1111250"/>
                    <a:gd name="connsiteY83" fmla="*/ 576332 h 1139825"/>
                    <a:gd name="connsiteX84" fmla="*/ 548845 w 1111250"/>
                    <a:gd name="connsiteY84" fmla="*/ 575619 h 1139825"/>
                    <a:gd name="connsiteX85" fmla="*/ 548845 w 1111250"/>
                    <a:gd name="connsiteY85" fmla="*/ 573479 h 1139825"/>
                    <a:gd name="connsiteX86" fmla="*/ 548845 w 1111250"/>
                    <a:gd name="connsiteY86" fmla="*/ 517130 h 1139825"/>
                    <a:gd name="connsiteX87" fmla="*/ 498171 w 1111250"/>
                    <a:gd name="connsiteY87" fmla="*/ 546374 h 1139825"/>
                    <a:gd name="connsiteX88" fmla="*/ 449639 w 1111250"/>
                    <a:gd name="connsiteY88" fmla="*/ 574906 h 1139825"/>
                    <a:gd name="connsiteX89" fmla="*/ 433937 w 1111250"/>
                    <a:gd name="connsiteY89" fmla="*/ 584178 h 1139825"/>
                    <a:gd name="connsiteX90" fmla="*/ 418236 w 1111250"/>
                    <a:gd name="connsiteY90" fmla="*/ 593451 h 1139825"/>
                    <a:gd name="connsiteX91" fmla="*/ 377554 w 1111250"/>
                    <a:gd name="connsiteY91" fmla="*/ 617703 h 1139825"/>
                    <a:gd name="connsiteX92" fmla="*/ 361139 w 1111250"/>
                    <a:gd name="connsiteY92" fmla="*/ 626975 h 1139825"/>
                    <a:gd name="connsiteX93" fmla="*/ 345437 w 1111250"/>
                    <a:gd name="connsiteY93" fmla="*/ 636248 h 1139825"/>
                    <a:gd name="connsiteX94" fmla="*/ 315461 w 1111250"/>
                    <a:gd name="connsiteY94" fmla="*/ 654080 h 1139825"/>
                    <a:gd name="connsiteX95" fmla="*/ 308324 w 1111250"/>
                    <a:gd name="connsiteY95" fmla="*/ 671912 h 1139825"/>
                    <a:gd name="connsiteX96" fmla="*/ 255509 w 1111250"/>
                    <a:gd name="connsiteY96" fmla="*/ 813142 h 1139825"/>
                    <a:gd name="connsiteX97" fmla="*/ 246945 w 1111250"/>
                    <a:gd name="connsiteY97" fmla="*/ 833114 h 1139825"/>
                    <a:gd name="connsiteX98" fmla="*/ 131323 w 1111250"/>
                    <a:gd name="connsiteY98" fmla="*/ 903015 h 1139825"/>
                    <a:gd name="connsiteX99" fmla="*/ 0 w 1111250"/>
                    <a:gd name="connsiteY99" fmla="*/ 772485 h 1139825"/>
                    <a:gd name="connsiteX100" fmla="*/ 126327 w 1111250"/>
                    <a:gd name="connsiteY100" fmla="*/ 641954 h 1139825"/>
                    <a:gd name="connsiteX101" fmla="*/ 131323 w 1111250"/>
                    <a:gd name="connsiteY101" fmla="*/ 641954 h 1139825"/>
                    <a:gd name="connsiteX102" fmla="*/ 175573 w 1111250"/>
                    <a:gd name="connsiteY102" fmla="*/ 649800 h 1139825"/>
                    <a:gd name="connsiteX103" fmla="*/ 209118 w 1111250"/>
                    <a:gd name="connsiteY103" fmla="*/ 611996 h 1139825"/>
                    <a:gd name="connsiteX104" fmla="*/ 241949 w 1111250"/>
                    <a:gd name="connsiteY104" fmla="*/ 574906 h 1139825"/>
                    <a:gd name="connsiteX105" fmla="*/ 251227 w 1111250"/>
                    <a:gd name="connsiteY105" fmla="*/ 564920 h 1139825"/>
                    <a:gd name="connsiteX106" fmla="*/ 252654 w 1111250"/>
                    <a:gd name="connsiteY106" fmla="*/ 563493 h 1139825"/>
                    <a:gd name="connsiteX107" fmla="*/ 255509 w 1111250"/>
                    <a:gd name="connsiteY107" fmla="*/ 561353 h 1139825"/>
                    <a:gd name="connsiteX108" fmla="*/ 266929 w 1111250"/>
                    <a:gd name="connsiteY108" fmla="*/ 555647 h 1139825"/>
                    <a:gd name="connsiteX109" fmla="*/ 312606 w 1111250"/>
                    <a:gd name="connsiteY109" fmla="*/ 531395 h 1139825"/>
                    <a:gd name="connsiteX110" fmla="*/ 329022 w 1111250"/>
                    <a:gd name="connsiteY110" fmla="*/ 522836 h 1139825"/>
                    <a:gd name="connsiteX111" fmla="*/ 345437 w 1111250"/>
                    <a:gd name="connsiteY111" fmla="*/ 514277 h 1139825"/>
                    <a:gd name="connsiteX112" fmla="*/ 396111 w 1111250"/>
                    <a:gd name="connsiteY112" fmla="*/ 487172 h 1139825"/>
                    <a:gd name="connsiteX113" fmla="*/ 548845 w 1111250"/>
                    <a:gd name="connsiteY113" fmla="*/ 406571 h 1139825"/>
                    <a:gd name="connsiteX114" fmla="*/ 548845 w 1111250"/>
                    <a:gd name="connsiteY114" fmla="*/ 350935 h 1139825"/>
                    <a:gd name="connsiteX115" fmla="*/ 548845 w 1111250"/>
                    <a:gd name="connsiteY115" fmla="*/ 15692 h 1139825"/>
                    <a:gd name="connsiteX116" fmla="*/ 564547 w 1111250"/>
                    <a:gd name="connsiteY116" fmla="*/ 0 h 113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1250" h="1139825">
                      <a:moveTo>
                        <a:pt x="131325" y="673100"/>
                      </a:moveTo>
                      <a:cubicBezTo>
                        <a:pt x="76559" y="673100"/>
                        <a:pt x="31750" y="717356"/>
                        <a:pt x="31750" y="772319"/>
                      </a:cubicBezTo>
                      <a:cubicBezTo>
                        <a:pt x="31750" y="827282"/>
                        <a:pt x="76559" y="871538"/>
                        <a:pt x="131325" y="871538"/>
                      </a:cubicBezTo>
                      <a:cubicBezTo>
                        <a:pt x="167598" y="871538"/>
                        <a:pt x="199605" y="851552"/>
                        <a:pt x="216675" y="821572"/>
                      </a:cubicBezTo>
                      <a:cubicBezTo>
                        <a:pt x="223787" y="810151"/>
                        <a:pt x="228055" y="796589"/>
                        <a:pt x="229477" y="783026"/>
                      </a:cubicBezTo>
                      <a:cubicBezTo>
                        <a:pt x="230188" y="779457"/>
                        <a:pt x="230188" y="775888"/>
                        <a:pt x="230188" y="772319"/>
                      </a:cubicBezTo>
                      <a:cubicBezTo>
                        <a:pt x="230188" y="740198"/>
                        <a:pt x="214541" y="710932"/>
                        <a:pt x="190358" y="693087"/>
                      </a:cubicBezTo>
                      <a:cubicBezTo>
                        <a:pt x="180401" y="685235"/>
                        <a:pt x="169021" y="679524"/>
                        <a:pt x="156930" y="675955"/>
                      </a:cubicBezTo>
                      <a:cubicBezTo>
                        <a:pt x="148395" y="673814"/>
                        <a:pt x="139860" y="673100"/>
                        <a:pt x="131325" y="673100"/>
                      </a:cubicBezTo>
                      <a:close/>
                      <a:moveTo>
                        <a:pt x="498232" y="604837"/>
                      </a:moveTo>
                      <a:cubicBezTo>
                        <a:pt x="498232" y="604837"/>
                        <a:pt x="498232" y="604837"/>
                        <a:pt x="548910" y="634832"/>
                      </a:cubicBezTo>
                      <a:cubicBezTo>
                        <a:pt x="548910" y="634832"/>
                        <a:pt x="548910" y="634832"/>
                        <a:pt x="580316" y="653400"/>
                      </a:cubicBezTo>
                      <a:cubicBezTo>
                        <a:pt x="580316" y="653400"/>
                        <a:pt x="580316" y="653400"/>
                        <a:pt x="611723" y="671254"/>
                      </a:cubicBezTo>
                      <a:cubicBezTo>
                        <a:pt x="611723" y="671254"/>
                        <a:pt x="611723" y="671254"/>
                        <a:pt x="863687" y="818371"/>
                      </a:cubicBezTo>
                      <a:cubicBezTo>
                        <a:pt x="867256" y="819799"/>
                        <a:pt x="870111" y="824084"/>
                        <a:pt x="870824" y="828369"/>
                      </a:cubicBezTo>
                      <a:cubicBezTo>
                        <a:pt x="871538" y="833368"/>
                        <a:pt x="870824" y="837653"/>
                        <a:pt x="867256" y="841224"/>
                      </a:cubicBezTo>
                      <a:cubicBezTo>
                        <a:pt x="857976" y="853365"/>
                        <a:pt x="835849" y="868362"/>
                        <a:pt x="806584" y="868362"/>
                      </a:cubicBezTo>
                      <a:cubicBezTo>
                        <a:pt x="791595" y="868362"/>
                        <a:pt x="774464" y="864077"/>
                        <a:pt x="756620" y="854079"/>
                      </a:cubicBezTo>
                      <a:cubicBezTo>
                        <a:pt x="738062" y="844081"/>
                        <a:pt x="680959" y="814800"/>
                        <a:pt x="611723" y="777664"/>
                      </a:cubicBezTo>
                      <a:cubicBezTo>
                        <a:pt x="601016" y="772665"/>
                        <a:pt x="591023" y="766951"/>
                        <a:pt x="580316" y="761238"/>
                      </a:cubicBezTo>
                      <a:cubicBezTo>
                        <a:pt x="570324" y="755525"/>
                        <a:pt x="559617" y="750526"/>
                        <a:pt x="548910" y="744812"/>
                      </a:cubicBezTo>
                      <a:cubicBezTo>
                        <a:pt x="497518" y="716960"/>
                        <a:pt x="443271" y="689108"/>
                        <a:pt x="396875" y="664827"/>
                      </a:cubicBezTo>
                      <a:cubicBezTo>
                        <a:pt x="396875" y="664827"/>
                        <a:pt x="396875" y="664827"/>
                        <a:pt x="413292" y="654828"/>
                      </a:cubicBezTo>
                      <a:cubicBezTo>
                        <a:pt x="413292" y="654828"/>
                        <a:pt x="413292" y="654828"/>
                        <a:pt x="428995" y="645544"/>
                      </a:cubicBezTo>
                      <a:cubicBezTo>
                        <a:pt x="428995" y="645544"/>
                        <a:pt x="428995" y="645544"/>
                        <a:pt x="466826" y="623405"/>
                      </a:cubicBezTo>
                      <a:cubicBezTo>
                        <a:pt x="466826" y="623405"/>
                        <a:pt x="466826" y="623405"/>
                        <a:pt x="482529" y="614121"/>
                      </a:cubicBezTo>
                      <a:cubicBezTo>
                        <a:pt x="482529" y="614121"/>
                        <a:pt x="482529" y="614121"/>
                        <a:pt x="498232" y="604837"/>
                      </a:cubicBezTo>
                      <a:close/>
                      <a:moveTo>
                        <a:pt x="130969" y="279400"/>
                      </a:moveTo>
                      <a:cubicBezTo>
                        <a:pt x="76720" y="279400"/>
                        <a:pt x="31750" y="323656"/>
                        <a:pt x="31750" y="377905"/>
                      </a:cubicBezTo>
                      <a:cubicBezTo>
                        <a:pt x="31750" y="432868"/>
                        <a:pt x="76720" y="477838"/>
                        <a:pt x="130969" y="477838"/>
                      </a:cubicBezTo>
                      <a:cubicBezTo>
                        <a:pt x="139535" y="477838"/>
                        <a:pt x="148101" y="476411"/>
                        <a:pt x="156666" y="474269"/>
                      </a:cubicBezTo>
                      <a:cubicBezTo>
                        <a:pt x="168801" y="470700"/>
                        <a:pt x="180222" y="464990"/>
                        <a:pt x="190215" y="457852"/>
                      </a:cubicBezTo>
                      <a:cubicBezTo>
                        <a:pt x="214485" y="439293"/>
                        <a:pt x="230188" y="410740"/>
                        <a:pt x="230188" y="377905"/>
                      </a:cubicBezTo>
                      <a:cubicBezTo>
                        <a:pt x="230188" y="374336"/>
                        <a:pt x="230188" y="371481"/>
                        <a:pt x="229474" y="367912"/>
                      </a:cubicBezTo>
                      <a:cubicBezTo>
                        <a:pt x="228047" y="353636"/>
                        <a:pt x="223764" y="340787"/>
                        <a:pt x="216626" y="328653"/>
                      </a:cubicBezTo>
                      <a:cubicBezTo>
                        <a:pt x="199495" y="299387"/>
                        <a:pt x="167373" y="279400"/>
                        <a:pt x="130969" y="279400"/>
                      </a:cubicBezTo>
                      <a:close/>
                      <a:moveTo>
                        <a:pt x="130765" y="247650"/>
                      </a:moveTo>
                      <a:cubicBezTo>
                        <a:pt x="180784" y="247650"/>
                        <a:pt x="224372" y="276202"/>
                        <a:pt x="246523" y="317602"/>
                      </a:cubicBezTo>
                      <a:cubicBezTo>
                        <a:pt x="250096" y="323312"/>
                        <a:pt x="252240" y="330450"/>
                        <a:pt x="255098" y="336874"/>
                      </a:cubicBezTo>
                      <a:cubicBezTo>
                        <a:pt x="255098" y="336874"/>
                        <a:pt x="255098" y="336874"/>
                        <a:pt x="307975" y="478205"/>
                      </a:cubicBezTo>
                      <a:cubicBezTo>
                        <a:pt x="302973" y="481060"/>
                        <a:pt x="298686" y="483201"/>
                        <a:pt x="293684" y="486056"/>
                      </a:cubicBezTo>
                      <a:cubicBezTo>
                        <a:pt x="289397" y="488198"/>
                        <a:pt x="284395" y="491053"/>
                        <a:pt x="280107" y="493194"/>
                      </a:cubicBezTo>
                      <a:cubicBezTo>
                        <a:pt x="253669" y="506756"/>
                        <a:pt x="236519" y="515322"/>
                        <a:pt x="232947" y="517463"/>
                      </a:cubicBezTo>
                      <a:cubicBezTo>
                        <a:pt x="232947" y="517463"/>
                        <a:pt x="232947" y="517463"/>
                        <a:pt x="232232" y="517463"/>
                      </a:cubicBezTo>
                      <a:cubicBezTo>
                        <a:pt x="232232" y="517463"/>
                        <a:pt x="232232" y="517463"/>
                        <a:pt x="225801" y="521032"/>
                      </a:cubicBezTo>
                      <a:cubicBezTo>
                        <a:pt x="223657" y="522460"/>
                        <a:pt x="221514" y="523887"/>
                        <a:pt x="219370" y="526029"/>
                      </a:cubicBezTo>
                      <a:cubicBezTo>
                        <a:pt x="219370" y="526029"/>
                        <a:pt x="219370" y="526029"/>
                        <a:pt x="208652" y="538163"/>
                      </a:cubicBezTo>
                      <a:cubicBezTo>
                        <a:pt x="208652" y="538163"/>
                        <a:pt x="208652" y="538163"/>
                        <a:pt x="175067" y="501046"/>
                      </a:cubicBezTo>
                      <a:cubicBezTo>
                        <a:pt x="161491" y="506043"/>
                        <a:pt x="146485" y="508184"/>
                        <a:pt x="130765" y="508184"/>
                      </a:cubicBezTo>
                      <a:cubicBezTo>
                        <a:pt x="128621" y="508184"/>
                        <a:pt x="127192" y="508184"/>
                        <a:pt x="125763" y="507470"/>
                      </a:cubicBezTo>
                      <a:cubicBezTo>
                        <a:pt x="56450" y="506043"/>
                        <a:pt x="0" y="448225"/>
                        <a:pt x="0" y="377560"/>
                      </a:cubicBezTo>
                      <a:cubicBezTo>
                        <a:pt x="0" y="306181"/>
                        <a:pt x="59309" y="247650"/>
                        <a:pt x="130765" y="247650"/>
                      </a:cubicBezTo>
                      <a:close/>
                      <a:moveTo>
                        <a:pt x="564547" y="0"/>
                      </a:moveTo>
                      <a:cubicBezTo>
                        <a:pt x="564547" y="0"/>
                        <a:pt x="564547" y="0"/>
                        <a:pt x="1095549" y="0"/>
                      </a:cubicBezTo>
                      <a:cubicBezTo>
                        <a:pt x="1104827" y="0"/>
                        <a:pt x="1111250" y="7133"/>
                        <a:pt x="1111250" y="15692"/>
                      </a:cubicBezTo>
                      <a:cubicBezTo>
                        <a:pt x="1111250" y="15692"/>
                        <a:pt x="1111250" y="15692"/>
                        <a:pt x="1111250" y="1124133"/>
                      </a:cubicBezTo>
                      <a:cubicBezTo>
                        <a:pt x="1111250" y="1132692"/>
                        <a:pt x="1104827" y="1139825"/>
                        <a:pt x="1095549" y="1139825"/>
                      </a:cubicBezTo>
                      <a:cubicBezTo>
                        <a:pt x="1095549" y="1139825"/>
                        <a:pt x="1095549" y="1139825"/>
                        <a:pt x="564547" y="1139825"/>
                      </a:cubicBezTo>
                      <a:cubicBezTo>
                        <a:pt x="555982" y="1139825"/>
                        <a:pt x="548845" y="1132692"/>
                        <a:pt x="548845" y="1124133"/>
                      </a:cubicBezTo>
                      <a:cubicBezTo>
                        <a:pt x="548845" y="1124133"/>
                        <a:pt x="548845" y="1124133"/>
                        <a:pt x="548845" y="798876"/>
                      </a:cubicBezTo>
                      <a:cubicBezTo>
                        <a:pt x="559551" y="804583"/>
                        <a:pt x="570256" y="810289"/>
                        <a:pt x="580248" y="815995"/>
                      </a:cubicBezTo>
                      <a:cubicBezTo>
                        <a:pt x="580248" y="815995"/>
                        <a:pt x="580248" y="815995"/>
                        <a:pt x="580248" y="1108441"/>
                      </a:cubicBezTo>
                      <a:cubicBezTo>
                        <a:pt x="580248" y="1108441"/>
                        <a:pt x="580248" y="1108441"/>
                        <a:pt x="1079847" y="1108441"/>
                      </a:cubicBezTo>
                      <a:cubicBezTo>
                        <a:pt x="1079847" y="1108441"/>
                        <a:pt x="1079847" y="1108441"/>
                        <a:pt x="1079847" y="538528"/>
                      </a:cubicBezTo>
                      <a:cubicBezTo>
                        <a:pt x="1079847" y="538528"/>
                        <a:pt x="1079847" y="538528"/>
                        <a:pt x="1080561" y="538528"/>
                      </a:cubicBezTo>
                      <a:cubicBezTo>
                        <a:pt x="1080561" y="538528"/>
                        <a:pt x="1080561" y="538528"/>
                        <a:pt x="1080561" y="507144"/>
                      </a:cubicBezTo>
                      <a:cubicBezTo>
                        <a:pt x="1080561" y="507144"/>
                        <a:pt x="1080561" y="507144"/>
                        <a:pt x="1080561" y="394445"/>
                      </a:cubicBezTo>
                      <a:cubicBezTo>
                        <a:pt x="1080561" y="394445"/>
                        <a:pt x="1080561" y="394445"/>
                        <a:pt x="1080561" y="139803"/>
                      </a:cubicBezTo>
                      <a:cubicBezTo>
                        <a:pt x="1080561" y="137664"/>
                        <a:pt x="1080561" y="136237"/>
                        <a:pt x="1079847" y="134810"/>
                      </a:cubicBezTo>
                      <a:cubicBezTo>
                        <a:pt x="1079847" y="134810"/>
                        <a:pt x="1079847" y="134810"/>
                        <a:pt x="1079847" y="31385"/>
                      </a:cubicBezTo>
                      <a:cubicBezTo>
                        <a:pt x="1079847" y="31385"/>
                        <a:pt x="1079847" y="31385"/>
                        <a:pt x="580248" y="31385"/>
                      </a:cubicBezTo>
                      <a:cubicBezTo>
                        <a:pt x="580248" y="31385"/>
                        <a:pt x="580248" y="31385"/>
                        <a:pt x="580248" y="135524"/>
                      </a:cubicBezTo>
                      <a:cubicBezTo>
                        <a:pt x="580248" y="135524"/>
                        <a:pt x="580248" y="135524"/>
                        <a:pt x="580248" y="334530"/>
                      </a:cubicBezTo>
                      <a:cubicBezTo>
                        <a:pt x="580248" y="334530"/>
                        <a:pt x="580248" y="334530"/>
                        <a:pt x="580248" y="389452"/>
                      </a:cubicBezTo>
                      <a:cubicBezTo>
                        <a:pt x="580248" y="389452"/>
                        <a:pt x="580248" y="389452"/>
                        <a:pt x="580248" y="407284"/>
                      </a:cubicBezTo>
                      <a:cubicBezTo>
                        <a:pt x="580248" y="407284"/>
                        <a:pt x="580248" y="407284"/>
                        <a:pt x="580248" y="425116"/>
                      </a:cubicBezTo>
                      <a:cubicBezTo>
                        <a:pt x="580248" y="425116"/>
                        <a:pt x="580248" y="425116"/>
                        <a:pt x="580248" y="462207"/>
                      </a:cubicBezTo>
                      <a:cubicBezTo>
                        <a:pt x="580248" y="462207"/>
                        <a:pt x="580248" y="462207"/>
                        <a:pt x="580248" y="480039"/>
                      </a:cubicBezTo>
                      <a:cubicBezTo>
                        <a:pt x="580248" y="480039"/>
                        <a:pt x="580248" y="480039"/>
                        <a:pt x="580248" y="498584"/>
                      </a:cubicBezTo>
                      <a:cubicBezTo>
                        <a:pt x="580248" y="498584"/>
                        <a:pt x="580248" y="498584"/>
                        <a:pt x="580248" y="538528"/>
                      </a:cubicBezTo>
                      <a:cubicBezTo>
                        <a:pt x="580248" y="538528"/>
                        <a:pt x="580248" y="538528"/>
                        <a:pt x="580248" y="554934"/>
                      </a:cubicBezTo>
                      <a:cubicBezTo>
                        <a:pt x="580248" y="554934"/>
                        <a:pt x="580248" y="554934"/>
                        <a:pt x="580248" y="575619"/>
                      </a:cubicBezTo>
                      <a:cubicBezTo>
                        <a:pt x="580248" y="575619"/>
                        <a:pt x="580248" y="575619"/>
                        <a:pt x="580248" y="594878"/>
                      </a:cubicBezTo>
                      <a:cubicBezTo>
                        <a:pt x="580248" y="594878"/>
                        <a:pt x="580248" y="594878"/>
                        <a:pt x="548845" y="576332"/>
                      </a:cubicBezTo>
                      <a:cubicBezTo>
                        <a:pt x="548845" y="576332"/>
                        <a:pt x="548845" y="576332"/>
                        <a:pt x="548845" y="575619"/>
                      </a:cubicBezTo>
                      <a:cubicBezTo>
                        <a:pt x="548845" y="575619"/>
                        <a:pt x="548845" y="575619"/>
                        <a:pt x="548845" y="573479"/>
                      </a:cubicBezTo>
                      <a:cubicBezTo>
                        <a:pt x="548845" y="573479"/>
                        <a:pt x="548845" y="573479"/>
                        <a:pt x="548845" y="517130"/>
                      </a:cubicBezTo>
                      <a:cubicBezTo>
                        <a:pt x="548845" y="517130"/>
                        <a:pt x="548845" y="517130"/>
                        <a:pt x="498171" y="546374"/>
                      </a:cubicBezTo>
                      <a:cubicBezTo>
                        <a:pt x="498171" y="546374"/>
                        <a:pt x="498171" y="546374"/>
                        <a:pt x="449639" y="574906"/>
                      </a:cubicBezTo>
                      <a:cubicBezTo>
                        <a:pt x="449639" y="574906"/>
                        <a:pt x="449639" y="574906"/>
                        <a:pt x="433937" y="584178"/>
                      </a:cubicBezTo>
                      <a:cubicBezTo>
                        <a:pt x="433937" y="584178"/>
                        <a:pt x="433937" y="584178"/>
                        <a:pt x="418236" y="593451"/>
                      </a:cubicBezTo>
                      <a:cubicBezTo>
                        <a:pt x="418236" y="593451"/>
                        <a:pt x="418236" y="593451"/>
                        <a:pt x="377554" y="617703"/>
                      </a:cubicBezTo>
                      <a:cubicBezTo>
                        <a:pt x="377554" y="617703"/>
                        <a:pt x="377554" y="617703"/>
                        <a:pt x="361139" y="626975"/>
                      </a:cubicBezTo>
                      <a:cubicBezTo>
                        <a:pt x="361139" y="626975"/>
                        <a:pt x="361139" y="626975"/>
                        <a:pt x="345437" y="636248"/>
                      </a:cubicBezTo>
                      <a:cubicBezTo>
                        <a:pt x="345437" y="636248"/>
                        <a:pt x="345437" y="636248"/>
                        <a:pt x="315461" y="654080"/>
                      </a:cubicBezTo>
                      <a:cubicBezTo>
                        <a:pt x="315461" y="654080"/>
                        <a:pt x="315461" y="654080"/>
                        <a:pt x="308324" y="671912"/>
                      </a:cubicBezTo>
                      <a:cubicBezTo>
                        <a:pt x="308324" y="671912"/>
                        <a:pt x="308324" y="671912"/>
                        <a:pt x="255509" y="813142"/>
                      </a:cubicBezTo>
                      <a:cubicBezTo>
                        <a:pt x="253368" y="820275"/>
                        <a:pt x="250513" y="826694"/>
                        <a:pt x="246945" y="833114"/>
                      </a:cubicBezTo>
                      <a:cubicBezTo>
                        <a:pt x="224820" y="874484"/>
                        <a:pt x="181283" y="903015"/>
                        <a:pt x="131323" y="903015"/>
                      </a:cubicBezTo>
                      <a:cubicBezTo>
                        <a:pt x="59238" y="903015"/>
                        <a:pt x="0" y="844526"/>
                        <a:pt x="0" y="772485"/>
                      </a:cubicBezTo>
                      <a:cubicBezTo>
                        <a:pt x="0" y="701870"/>
                        <a:pt x="56384" y="644094"/>
                        <a:pt x="126327" y="641954"/>
                      </a:cubicBezTo>
                      <a:cubicBezTo>
                        <a:pt x="127755" y="641954"/>
                        <a:pt x="129182" y="641954"/>
                        <a:pt x="131323" y="641954"/>
                      </a:cubicBezTo>
                      <a:cubicBezTo>
                        <a:pt x="147025" y="641954"/>
                        <a:pt x="162013" y="644807"/>
                        <a:pt x="175573" y="649800"/>
                      </a:cubicBezTo>
                      <a:cubicBezTo>
                        <a:pt x="175573" y="649800"/>
                        <a:pt x="175573" y="649800"/>
                        <a:pt x="209118" y="611996"/>
                      </a:cubicBezTo>
                      <a:cubicBezTo>
                        <a:pt x="209118" y="611996"/>
                        <a:pt x="209118" y="611996"/>
                        <a:pt x="241949" y="574906"/>
                      </a:cubicBezTo>
                      <a:cubicBezTo>
                        <a:pt x="241949" y="574906"/>
                        <a:pt x="241949" y="574906"/>
                        <a:pt x="251227" y="564920"/>
                      </a:cubicBezTo>
                      <a:cubicBezTo>
                        <a:pt x="251941" y="564206"/>
                        <a:pt x="252654" y="563493"/>
                        <a:pt x="252654" y="563493"/>
                      </a:cubicBezTo>
                      <a:cubicBezTo>
                        <a:pt x="254082" y="562780"/>
                        <a:pt x="254796" y="562067"/>
                        <a:pt x="255509" y="561353"/>
                      </a:cubicBezTo>
                      <a:cubicBezTo>
                        <a:pt x="256223" y="561353"/>
                        <a:pt x="259792" y="559213"/>
                        <a:pt x="266929" y="555647"/>
                      </a:cubicBezTo>
                      <a:cubicBezTo>
                        <a:pt x="276921" y="550654"/>
                        <a:pt x="292622" y="542095"/>
                        <a:pt x="312606" y="531395"/>
                      </a:cubicBezTo>
                      <a:cubicBezTo>
                        <a:pt x="317602" y="528542"/>
                        <a:pt x="323312" y="525689"/>
                        <a:pt x="329022" y="522836"/>
                      </a:cubicBezTo>
                      <a:cubicBezTo>
                        <a:pt x="334018" y="519983"/>
                        <a:pt x="339727" y="517130"/>
                        <a:pt x="345437" y="514277"/>
                      </a:cubicBezTo>
                      <a:cubicBezTo>
                        <a:pt x="361139" y="505717"/>
                        <a:pt x="378268" y="496445"/>
                        <a:pt x="396111" y="487172"/>
                      </a:cubicBezTo>
                      <a:cubicBezTo>
                        <a:pt x="443216" y="462207"/>
                        <a:pt x="497458" y="433676"/>
                        <a:pt x="548845" y="406571"/>
                      </a:cubicBezTo>
                      <a:cubicBezTo>
                        <a:pt x="548845" y="406571"/>
                        <a:pt x="548845" y="406571"/>
                        <a:pt x="548845" y="350935"/>
                      </a:cubicBezTo>
                      <a:cubicBezTo>
                        <a:pt x="548845" y="350935"/>
                        <a:pt x="548845" y="350935"/>
                        <a:pt x="548845" y="15692"/>
                      </a:cubicBezTo>
                      <a:cubicBezTo>
                        <a:pt x="548845" y="7133"/>
                        <a:pt x="555982" y="0"/>
                        <a:pt x="564547"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12169"/>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012169"/>
                    </a:solidFill>
                    <a:latin typeface="Arial" panose="020B0604020202020204" pitchFamily="34" charset="0"/>
                    <a:cs typeface="Arial" panose="020B0604020202020204" pitchFamily="34" charset="0"/>
                  </a:endParaRPr>
                </a:p>
              </p:txBody>
            </p:sp>
          </p:grpSp>
        </p:grpSp>
        <p:sp>
          <p:nvSpPr>
            <p:cNvPr id="48" name="TextBox 47">
              <a:extLst>
                <a:ext uri="{FF2B5EF4-FFF2-40B4-BE49-F238E27FC236}">
                  <a16:creationId xmlns:a16="http://schemas.microsoft.com/office/drawing/2014/main" id="{F3491F3E-C42D-44DB-8D5F-EE9C04A8766E}"/>
                </a:ext>
              </a:extLst>
            </p:cNvPr>
            <p:cNvSpPr txBox="1"/>
            <p:nvPr/>
          </p:nvSpPr>
          <p:spPr>
            <a:xfrm>
              <a:off x="4103429" y="3429179"/>
              <a:ext cx="3540065" cy="1334639"/>
            </a:xfrm>
            <a:prstGeom prst="rect">
              <a:avLst/>
            </a:prstGeom>
            <a:noFill/>
            <a:ln w="9525" cap="rnd" cmpd="sng" algn="ctr">
              <a:solidFill>
                <a:srgbClr val="16448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000000"/>
                  </a:solidFill>
                </a:rPr>
                <a:t>Many American households cannot afford to pay for the costs of devices or monthly service</a:t>
              </a:r>
            </a:p>
          </p:txBody>
        </p:sp>
        <p:sp>
          <p:nvSpPr>
            <p:cNvPr id="31" name="Rectangle 30">
              <a:extLst>
                <a:ext uri="{FF2B5EF4-FFF2-40B4-BE49-F238E27FC236}">
                  <a16:creationId xmlns:a16="http://schemas.microsoft.com/office/drawing/2014/main" id="{C18B32A0-75AD-4B42-BB92-05ABEF8CE914}"/>
                </a:ext>
              </a:extLst>
            </p:cNvPr>
            <p:cNvSpPr/>
            <p:nvPr/>
          </p:nvSpPr>
          <p:spPr bwMode="gray">
            <a:xfrm>
              <a:off x="7806808" y="2377882"/>
              <a:ext cx="3540065" cy="1051118"/>
            </a:xfrm>
            <a:prstGeom prst="rect">
              <a:avLst/>
            </a:prstGeom>
            <a:solidFill>
              <a:srgbClr val="164484"/>
            </a:solidFill>
            <a:ln w="19050" cap="flat" cmpd="sng" algn="ctr">
              <a:solidFill>
                <a:srgbClr val="164484"/>
              </a:solidFill>
              <a:prstDash val="solid"/>
              <a:miter lim="800000"/>
              <a:headEnd type="none" w="med" len="med"/>
              <a:tailEnd type="none" w="med" len="med"/>
            </a:ln>
          </p:spPr>
          <p:txBody>
            <a:bodyPr wrap="square" lIns="91440" tIns="88900" rIns="91440" bIns="91440" rtlCol="0" anchor="b"/>
            <a:lstStyle/>
            <a:p>
              <a:pPr algn="ctr">
                <a:lnSpc>
                  <a:spcPct val="106000"/>
                </a:lnSpc>
              </a:pPr>
              <a:r>
                <a:rPr lang="en-US" b="1" dirty="0">
                  <a:solidFill>
                    <a:schemeClr val="bg1"/>
                  </a:solidFill>
                  <a:latin typeface="Arial"/>
                  <a:cs typeface="Arial"/>
                </a:rPr>
                <a:t>Adoption and Digital Literacy</a:t>
              </a:r>
            </a:p>
          </p:txBody>
        </p:sp>
        <p:grpSp>
          <p:nvGrpSpPr>
            <p:cNvPr id="41" name="Group 40">
              <a:extLst>
                <a:ext uri="{FF2B5EF4-FFF2-40B4-BE49-F238E27FC236}">
                  <a16:creationId xmlns:a16="http://schemas.microsoft.com/office/drawing/2014/main" id="{41862204-F3AE-47BF-B41C-13E335ACB659}"/>
                </a:ext>
              </a:extLst>
            </p:cNvPr>
            <p:cNvGrpSpPr>
              <a:grpSpLocks noChangeAspect="1"/>
            </p:cNvGrpSpPr>
            <p:nvPr/>
          </p:nvGrpSpPr>
          <p:grpSpPr>
            <a:xfrm>
              <a:off x="9213757" y="2391895"/>
              <a:ext cx="726167" cy="726167"/>
              <a:chOff x="5273675" y="2606675"/>
              <a:chExt cx="1644650" cy="1644650"/>
            </a:xfrm>
          </p:grpSpPr>
          <p:sp>
            <p:nvSpPr>
              <p:cNvPr id="42" name="AutoShape 10">
                <a:extLst>
                  <a:ext uri="{FF2B5EF4-FFF2-40B4-BE49-F238E27FC236}">
                    <a16:creationId xmlns:a16="http://schemas.microsoft.com/office/drawing/2014/main" id="{9F12F295-C7BC-4CCF-B90C-562691C4384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0">
                <a:extLst>
                  <a:ext uri="{FF2B5EF4-FFF2-40B4-BE49-F238E27FC236}">
                    <a16:creationId xmlns:a16="http://schemas.microsoft.com/office/drawing/2014/main" id="{864B3588-E159-4DE9-95D4-3D1CB6D9C14D}"/>
                  </a:ext>
                </a:extLst>
              </p:cNvPr>
              <p:cNvSpPr>
                <a:spLocks/>
              </p:cNvSpPr>
              <p:nvPr/>
            </p:nvSpPr>
            <p:spPr bwMode="auto">
              <a:xfrm>
                <a:off x="5443538" y="2876410"/>
                <a:ext cx="1304925" cy="1108214"/>
              </a:xfrm>
              <a:custGeom>
                <a:avLst/>
                <a:gdLst>
                  <a:gd name="connsiteX0" fmla="*/ 497443 w 1304925"/>
                  <a:gd name="connsiteY0" fmla="*/ 903427 h 1108214"/>
                  <a:gd name="connsiteX1" fmla="*/ 481012 w 1304925"/>
                  <a:gd name="connsiteY1" fmla="*/ 919108 h 1108214"/>
                  <a:gd name="connsiteX2" fmla="*/ 481012 w 1304925"/>
                  <a:gd name="connsiteY2" fmla="*/ 957597 h 1108214"/>
                  <a:gd name="connsiteX3" fmla="*/ 497443 w 1304925"/>
                  <a:gd name="connsiteY3" fmla="*/ 973277 h 1108214"/>
                  <a:gd name="connsiteX4" fmla="*/ 536734 w 1304925"/>
                  <a:gd name="connsiteY4" fmla="*/ 973277 h 1108214"/>
                  <a:gd name="connsiteX5" fmla="*/ 552450 w 1304925"/>
                  <a:gd name="connsiteY5" fmla="*/ 957597 h 1108214"/>
                  <a:gd name="connsiteX6" fmla="*/ 552450 w 1304925"/>
                  <a:gd name="connsiteY6" fmla="*/ 919108 h 1108214"/>
                  <a:gd name="connsiteX7" fmla="*/ 536734 w 1304925"/>
                  <a:gd name="connsiteY7" fmla="*/ 903427 h 1108214"/>
                  <a:gd name="connsiteX8" fmla="*/ 497443 w 1304925"/>
                  <a:gd name="connsiteY8" fmla="*/ 903427 h 1108214"/>
                  <a:gd name="connsiteX9" fmla="*/ 398304 w 1304925"/>
                  <a:gd name="connsiteY9" fmla="*/ 903427 h 1108214"/>
                  <a:gd name="connsiteX10" fmla="*/ 382587 w 1304925"/>
                  <a:gd name="connsiteY10" fmla="*/ 919108 h 1108214"/>
                  <a:gd name="connsiteX11" fmla="*/ 382587 w 1304925"/>
                  <a:gd name="connsiteY11" fmla="*/ 957597 h 1108214"/>
                  <a:gd name="connsiteX12" fmla="*/ 398304 w 1304925"/>
                  <a:gd name="connsiteY12" fmla="*/ 973277 h 1108214"/>
                  <a:gd name="connsiteX13" fmla="*/ 437595 w 1304925"/>
                  <a:gd name="connsiteY13" fmla="*/ 973277 h 1108214"/>
                  <a:gd name="connsiteX14" fmla="*/ 454025 w 1304925"/>
                  <a:gd name="connsiteY14" fmla="*/ 957597 h 1108214"/>
                  <a:gd name="connsiteX15" fmla="*/ 454025 w 1304925"/>
                  <a:gd name="connsiteY15" fmla="*/ 919108 h 1108214"/>
                  <a:gd name="connsiteX16" fmla="*/ 437595 w 1304925"/>
                  <a:gd name="connsiteY16" fmla="*/ 903427 h 1108214"/>
                  <a:gd name="connsiteX17" fmla="*/ 398304 w 1304925"/>
                  <a:gd name="connsiteY17" fmla="*/ 903427 h 1108214"/>
                  <a:gd name="connsiteX18" fmla="*/ 301431 w 1304925"/>
                  <a:gd name="connsiteY18" fmla="*/ 903427 h 1108214"/>
                  <a:gd name="connsiteX19" fmla="*/ 285750 w 1304925"/>
                  <a:gd name="connsiteY19" fmla="*/ 919108 h 1108214"/>
                  <a:gd name="connsiteX20" fmla="*/ 285750 w 1304925"/>
                  <a:gd name="connsiteY20" fmla="*/ 957597 h 1108214"/>
                  <a:gd name="connsiteX21" fmla="*/ 301431 w 1304925"/>
                  <a:gd name="connsiteY21" fmla="*/ 973277 h 1108214"/>
                  <a:gd name="connsiteX22" fmla="*/ 339920 w 1304925"/>
                  <a:gd name="connsiteY22" fmla="*/ 973277 h 1108214"/>
                  <a:gd name="connsiteX23" fmla="*/ 355600 w 1304925"/>
                  <a:gd name="connsiteY23" fmla="*/ 957597 h 1108214"/>
                  <a:gd name="connsiteX24" fmla="*/ 355600 w 1304925"/>
                  <a:gd name="connsiteY24" fmla="*/ 919108 h 1108214"/>
                  <a:gd name="connsiteX25" fmla="*/ 339920 w 1304925"/>
                  <a:gd name="connsiteY25" fmla="*/ 903427 h 1108214"/>
                  <a:gd name="connsiteX26" fmla="*/ 301431 w 1304925"/>
                  <a:gd name="connsiteY26" fmla="*/ 903427 h 1108214"/>
                  <a:gd name="connsiteX27" fmla="*/ 203168 w 1304925"/>
                  <a:gd name="connsiteY27" fmla="*/ 903427 h 1108214"/>
                  <a:gd name="connsiteX28" fmla="*/ 187325 w 1304925"/>
                  <a:gd name="connsiteY28" fmla="*/ 919108 h 1108214"/>
                  <a:gd name="connsiteX29" fmla="*/ 187325 w 1304925"/>
                  <a:gd name="connsiteY29" fmla="*/ 957597 h 1108214"/>
                  <a:gd name="connsiteX30" fmla="*/ 203168 w 1304925"/>
                  <a:gd name="connsiteY30" fmla="*/ 973277 h 1108214"/>
                  <a:gd name="connsiteX31" fmla="*/ 241333 w 1304925"/>
                  <a:gd name="connsiteY31" fmla="*/ 973277 h 1108214"/>
                  <a:gd name="connsiteX32" fmla="*/ 257175 w 1304925"/>
                  <a:gd name="connsiteY32" fmla="*/ 957597 h 1108214"/>
                  <a:gd name="connsiteX33" fmla="*/ 257175 w 1304925"/>
                  <a:gd name="connsiteY33" fmla="*/ 919108 h 1108214"/>
                  <a:gd name="connsiteX34" fmla="*/ 241333 w 1304925"/>
                  <a:gd name="connsiteY34" fmla="*/ 903427 h 1108214"/>
                  <a:gd name="connsiteX35" fmla="*/ 203168 w 1304925"/>
                  <a:gd name="connsiteY35" fmla="*/ 903427 h 1108214"/>
                  <a:gd name="connsiteX36" fmla="*/ 1123156 w 1304925"/>
                  <a:gd name="connsiteY36" fmla="*/ 781189 h 1108214"/>
                  <a:gd name="connsiteX37" fmla="*/ 1055687 w 1304925"/>
                  <a:gd name="connsiteY37" fmla="*/ 851039 h 1108214"/>
                  <a:gd name="connsiteX38" fmla="*/ 1123156 w 1304925"/>
                  <a:gd name="connsiteY38" fmla="*/ 920889 h 1108214"/>
                  <a:gd name="connsiteX39" fmla="*/ 1190625 w 1304925"/>
                  <a:gd name="connsiteY39" fmla="*/ 851039 h 1108214"/>
                  <a:gd name="connsiteX40" fmla="*/ 1123156 w 1304925"/>
                  <a:gd name="connsiteY40" fmla="*/ 781189 h 1108214"/>
                  <a:gd name="connsiteX41" fmla="*/ 361210 w 1304925"/>
                  <a:gd name="connsiteY41" fmla="*/ 317639 h 1108214"/>
                  <a:gd name="connsiteX42" fmla="*/ 376915 w 1304925"/>
                  <a:gd name="connsiteY42" fmla="*/ 333336 h 1108214"/>
                  <a:gd name="connsiteX43" fmla="*/ 376915 w 1304925"/>
                  <a:gd name="connsiteY43" fmla="*/ 675110 h 1108214"/>
                  <a:gd name="connsiteX44" fmla="*/ 1289220 w 1304925"/>
                  <a:gd name="connsiteY44" fmla="*/ 675110 h 1108214"/>
                  <a:gd name="connsiteX45" fmla="*/ 1304925 w 1304925"/>
                  <a:gd name="connsiteY45" fmla="*/ 690808 h 1108214"/>
                  <a:gd name="connsiteX46" fmla="*/ 1304925 w 1304925"/>
                  <a:gd name="connsiteY46" fmla="*/ 1092517 h 1108214"/>
                  <a:gd name="connsiteX47" fmla="*/ 1289220 w 1304925"/>
                  <a:gd name="connsiteY47" fmla="*/ 1108214 h 1108214"/>
                  <a:gd name="connsiteX48" fmla="*/ 15705 w 1304925"/>
                  <a:gd name="connsiteY48" fmla="*/ 1108214 h 1108214"/>
                  <a:gd name="connsiteX49" fmla="*/ 0 w 1304925"/>
                  <a:gd name="connsiteY49" fmla="*/ 1092517 h 1108214"/>
                  <a:gd name="connsiteX50" fmla="*/ 0 w 1304925"/>
                  <a:gd name="connsiteY50" fmla="*/ 690808 h 1108214"/>
                  <a:gd name="connsiteX51" fmla="*/ 15705 w 1304925"/>
                  <a:gd name="connsiteY51" fmla="*/ 675110 h 1108214"/>
                  <a:gd name="connsiteX52" fmla="*/ 345506 w 1304925"/>
                  <a:gd name="connsiteY52" fmla="*/ 675110 h 1108214"/>
                  <a:gd name="connsiteX53" fmla="*/ 345506 w 1304925"/>
                  <a:gd name="connsiteY53" fmla="*/ 333336 h 1108214"/>
                  <a:gd name="connsiteX54" fmla="*/ 361210 w 1304925"/>
                  <a:gd name="connsiteY54" fmla="*/ 317639 h 1108214"/>
                  <a:gd name="connsiteX55" fmla="*/ 343821 w 1304925"/>
                  <a:gd name="connsiteY55" fmla="*/ 201954 h 1108214"/>
                  <a:gd name="connsiteX56" fmla="*/ 450933 w 1304925"/>
                  <a:gd name="connsiteY56" fmla="*/ 233164 h 1108214"/>
                  <a:gd name="connsiteX57" fmla="*/ 453076 w 1304925"/>
                  <a:gd name="connsiteY57" fmla="*/ 255862 h 1108214"/>
                  <a:gd name="connsiteX58" fmla="*/ 440222 w 1304925"/>
                  <a:gd name="connsiteY58" fmla="*/ 262246 h 1108214"/>
                  <a:gd name="connsiteX59" fmla="*/ 430225 w 1304925"/>
                  <a:gd name="connsiteY59" fmla="*/ 258699 h 1108214"/>
                  <a:gd name="connsiteX60" fmla="*/ 297406 w 1304925"/>
                  <a:gd name="connsiteY60" fmla="*/ 257280 h 1108214"/>
                  <a:gd name="connsiteX61" fmla="*/ 273841 w 1304925"/>
                  <a:gd name="connsiteY61" fmla="*/ 257280 h 1108214"/>
                  <a:gd name="connsiteX62" fmla="*/ 273841 w 1304925"/>
                  <a:gd name="connsiteY62" fmla="*/ 234582 h 1108214"/>
                  <a:gd name="connsiteX63" fmla="*/ 343821 w 1304925"/>
                  <a:gd name="connsiteY63" fmla="*/ 201954 h 1108214"/>
                  <a:gd name="connsiteX64" fmla="*/ 379737 w 1304925"/>
                  <a:gd name="connsiteY64" fmla="*/ 101041 h 1108214"/>
                  <a:gd name="connsiteX65" fmla="*/ 516864 w 1304925"/>
                  <a:gd name="connsiteY65" fmla="*/ 157576 h 1108214"/>
                  <a:gd name="connsiteX66" fmla="*/ 519730 w 1304925"/>
                  <a:gd name="connsiteY66" fmla="*/ 181183 h 1108214"/>
                  <a:gd name="connsiteX67" fmla="*/ 506834 w 1304925"/>
                  <a:gd name="connsiteY67" fmla="*/ 187621 h 1108214"/>
                  <a:gd name="connsiteX68" fmla="*/ 496803 w 1304925"/>
                  <a:gd name="connsiteY68" fmla="*/ 184045 h 1108214"/>
                  <a:gd name="connsiteX69" fmla="*/ 231705 w 1304925"/>
                  <a:gd name="connsiteY69" fmla="*/ 182614 h 1108214"/>
                  <a:gd name="connsiteX70" fmla="*/ 207344 w 1304925"/>
                  <a:gd name="connsiteY70" fmla="*/ 181899 h 1108214"/>
                  <a:gd name="connsiteX71" fmla="*/ 208061 w 1304925"/>
                  <a:gd name="connsiteY71" fmla="*/ 159007 h 1108214"/>
                  <a:gd name="connsiteX72" fmla="*/ 298337 w 1304925"/>
                  <a:gd name="connsiteY72" fmla="*/ 108932 h 1108214"/>
                  <a:gd name="connsiteX73" fmla="*/ 341326 w 1304925"/>
                  <a:gd name="connsiteY73" fmla="*/ 101063 h 1108214"/>
                  <a:gd name="connsiteX74" fmla="*/ 379737 w 1304925"/>
                  <a:gd name="connsiteY74" fmla="*/ 101041 h 1108214"/>
                  <a:gd name="connsiteX75" fmla="*/ 331562 w 1304925"/>
                  <a:gd name="connsiteY75" fmla="*/ 1096 h 1108214"/>
                  <a:gd name="connsiteX76" fmla="*/ 580382 w 1304925"/>
                  <a:gd name="connsiteY76" fmla="*/ 85447 h 1108214"/>
                  <a:gd name="connsiteX77" fmla="*/ 583242 w 1304925"/>
                  <a:gd name="connsiteY77" fmla="*/ 109752 h 1108214"/>
                  <a:gd name="connsiteX78" fmla="*/ 570372 w 1304925"/>
                  <a:gd name="connsiteY78" fmla="*/ 115471 h 1108214"/>
                  <a:gd name="connsiteX79" fmla="*/ 561077 w 1304925"/>
                  <a:gd name="connsiteY79" fmla="*/ 112611 h 1108214"/>
                  <a:gd name="connsiteX80" fmla="*/ 280797 w 1304925"/>
                  <a:gd name="connsiteY80" fmla="*/ 45416 h 1108214"/>
                  <a:gd name="connsiteX81" fmla="*/ 164967 w 1304925"/>
                  <a:gd name="connsiteY81" fmla="*/ 111182 h 1108214"/>
                  <a:gd name="connsiteX82" fmla="*/ 141372 w 1304925"/>
                  <a:gd name="connsiteY82" fmla="*/ 110467 h 1108214"/>
                  <a:gd name="connsiteX83" fmla="*/ 142087 w 1304925"/>
                  <a:gd name="connsiteY83" fmla="*/ 86877 h 1108214"/>
                  <a:gd name="connsiteX84" fmla="*/ 270072 w 1304925"/>
                  <a:gd name="connsiteY84" fmla="*/ 13248 h 1108214"/>
                  <a:gd name="connsiteX85" fmla="*/ 331562 w 1304925"/>
                  <a:gd name="connsiteY85" fmla="*/ 1096 h 110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4925" h="1108214">
                    <a:moveTo>
                      <a:pt x="497443" y="903427"/>
                    </a:moveTo>
                    <a:cubicBezTo>
                      <a:pt x="487442" y="903427"/>
                      <a:pt x="481012" y="910555"/>
                      <a:pt x="481012" y="919108"/>
                    </a:cubicBezTo>
                    <a:cubicBezTo>
                      <a:pt x="481012" y="957597"/>
                      <a:pt x="481012" y="957597"/>
                      <a:pt x="481012" y="957597"/>
                    </a:cubicBezTo>
                    <a:cubicBezTo>
                      <a:pt x="481012" y="966150"/>
                      <a:pt x="487442" y="973277"/>
                      <a:pt x="497443" y="973277"/>
                    </a:cubicBezTo>
                    <a:cubicBezTo>
                      <a:pt x="536734" y="973277"/>
                      <a:pt x="536734" y="973277"/>
                      <a:pt x="536734" y="973277"/>
                    </a:cubicBezTo>
                    <a:cubicBezTo>
                      <a:pt x="545306" y="973277"/>
                      <a:pt x="552450" y="966150"/>
                      <a:pt x="552450" y="957597"/>
                    </a:cubicBezTo>
                    <a:cubicBezTo>
                      <a:pt x="552450" y="919108"/>
                      <a:pt x="552450" y="919108"/>
                      <a:pt x="552450" y="919108"/>
                    </a:cubicBezTo>
                    <a:cubicBezTo>
                      <a:pt x="552450" y="910555"/>
                      <a:pt x="545306" y="903427"/>
                      <a:pt x="536734" y="903427"/>
                    </a:cubicBezTo>
                    <a:cubicBezTo>
                      <a:pt x="497443" y="903427"/>
                      <a:pt x="497443" y="903427"/>
                      <a:pt x="497443" y="903427"/>
                    </a:cubicBezTo>
                    <a:close/>
                    <a:moveTo>
                      <a:pt x="398304" y="903427"/>
                    </a:moveTo>
                    <a:cubicBezTo>
                      <a:pt x="389731" y="903427"/>
                      <a:pt x="382587" y="910555"/>
                      <a:pt x="382587" y="919108"/>
                    </a:cubicBezTo>
                    <a:cubicBezTo>
                      <a:pt x="382587" y="957597"/>
                      <a:pt x="382587" y="957597"/>
                      <a:pt x="382587" y="957597"/>
                    </a:cubicBezTo>
                    <a:cubicBezTo>
                      <a:pt x="382587" y="966150"/>
                      <a:pt x="389731" y="973277"/>
                      <a:pt x="398304" y="973277"/>
                    </a:cubicBezTo>
                    <a:cubicBezTo>
                      <a:pt x="437595" y="973277"/>
                      <a:pt x="437595" y="973277"/>
                      <a:pt x="437595" y="973277"/>
                    </a:cubicBezTo>
                    <a:cubicBezTo>
                      <a:pt x="446167" y="973277"/>
                      <a:pt x="454025" y="966150"/>
                      <a:pt x="454025" y="957597"/>
                    </a:cubicBezTo>
                    <a:cubicBezTo>
                      <a:pt x="454025" y="919108"/>
                      <a:pt x="454025" y="919108"/>
                      <a:pt x="454025" y="919108"/>
                    </a:cubicBezTo>
                    <a:cubicBezTo>
                      <a:pt x="454025" y="910555"/>
                      <a:pt x="446167" y="903427"/>
                      <a:pt x="437595" y="903427"/>
                    </a:cubicBezTo>
                    <a:cubicBezTo>
                      <a:pt x="398304" y="903427"/>
                      <a:pt x="398304" y="903427"/>
                      <a:pt x="398304" y="903427"/>
                    </a:cubicBezTo>
                    <a:close/>
                    <a:moveTo>
                      <a:pt x="301431" y="903427"/>
                    </a:moveTo>
                    <a:cubicBezTo>
                      <a:pt x="292878" y="903427"/>
                      <a:pt x="285750" y="910555"/>
                      <a:pt x="285750" y="919108"/>
                    </a:cubicBezTo>
                    <a:cubicBezTo>
                      <a:pt x="285750" y="957597"/>
                      <a:pt x="285750" y="957597"/>
                      <a:pt x="285750" y="957597"/>
                    </a:cubicBezTo>
                    <a:cubicBezTo>
                      <a:pt x="285750" y="966150"/>
                      <a:pt x="292878" y="973277"/>
                      <a:pt x="301431" y="973277"/>
                    </a:cubicBezTo>
                    <a:cubicBezTo>
                      <a:pt x="339920" y="973277"/>
                      <a:pt x="339920" y="973277"/>
                      <a:pt x="339920" y="973277"/>
                    </a:cubicBezTo>
                    <a:cubicBezTo>
                      <a:pt x="348473" y="973277"/>
                      <a:pt x="355600" y="966150"/>
                      <a:pt x="355600" y="957597"/>
                    </a:cubicBezTo>
                    <a:cubicBezTo>
                      <a:pt x="355600" y="919108"/>
                      <a:pt x="355600" y="919108"/>
                      <a:pt x="355600" y="919108"/>
                    </a:cubicBezTo>
                    <a:cubicBezTo>
                      <a:pt x="355600" y="910555"/>
                      <a:pt x="348473" y="903427"/>
                      <a:pt x="339920" y="903427"/>
                    </a:cubicBezTo>
                    <a:cubicBezTo>
                      <a:pt x="301431" y="903427"/>
                      <a:pt x="301431" y="903427"/>
                      <a:pt x="301431" y="903427"/>
                    </a:cubicBezTo>
                    <a:close/>
                    <a:moveTo>
                      <a:pt x="203168" y="903427"/>
                    </a:moveTo>
                    <a:cubicBezTo>
                      <a:pt x="193806" y="903427"/>
                      <a:pt x="187325" y="910555"/>
                      <a:pt x="187325" y="919108"/>
                    </a:cubicBezTo>
                    <a:cubicBezTo>
                      <a:pt x="187325" y="957597"/>
                      <a:pt x="187325" y="957597"/>
                      <a:pt x="187325" y="957597"/>
                    </a:cubicBezTo>
                    <a:cubicBezTo>
                      <a:pt x="187325" y="966150"/>
                      <a:pt x="193806" y="973277"/>
                      <a:pt x="203168" y="973277"/>
                    </a:cubicBezTo>
                    <a:cubicBezTo>
                      <a:pt x="241333" y="973277"/>
                      <a:pt x="241333" y="973277"/>
                      <a:pt x="241333" y="973277"/>
                    </a:cubicBezTo>
                    <a:cubicBezTo>
                      <a:pt x="249974" y="973277"/>
                      <a:pt x="257175" y="966150"/>
                      <a:pt x="257175" y="957597"/>
                    </a:cubicBezTo>
                    <a:cubicBezTo>
                      <a:pt x="257175" y="919108"/>
                      <a:pt x="257175" y="919108"/>
                      <a:pt x="257175" y="919108"/>
                    </a:cubicBezTo>
                    <a:cubicBezTo>
                      <a:pt x="257175" y="910555"/>
                      <a:pt x="249974" y="903427"/>
                      <a:pt x="241333" y="903427"/>
                    </a:cubicBezTo>
                    <a:cubicBezTo>
                      <a:pt x="203168" y="903427"/>
                      <a:pt x="203168" y="903427"/>
                      <a:pt x="203168" y="903427"/>
                    </a:cubicBezTo>
                    <a:close/>
                    <a:moveTo>
                      <a:pt x="1123156" y="781189"/>
                    </a:moveTo>
                    <a:cubicBezTo>
                      <a:pt x="1085894" y="781189"/>
                      <a:pt x="1055687" y="812462"/>
                      <a:pt x="1055687" y="851039"/>
                    </a:cubicBezTo>
                    <a:cubicBezTo>
                      <a:pt x="1055687" y="889616"/>
                      <a:pt x="1085894" y="920889"/>
                      <a:pt x="1123156" y="920889"/>
                    </a:cubicBezTo>
                    <a:cubicBezTo>
                      <a:pt x="1160418" y="920889"/>
                      <a:pt x="1190625" y="889616"/>
                      <a:pt x="1190625" y="851039"/>
                    </a:cubicBezTo>
                    <a:cubicBezTo>
                      <a:pt x="1190625" y="812462"/>
                      <a:pt x="1160418" y="781189"/>
                      <a:pt x="1123156" y="781189"/>
                    </a:cubicBezTo>
                    <a:close/>
                    <a:moveTo>
                      <a:pt x="361210" y="317639"/>
                    </a:moveTo>
                    <a:cubicBezTo>
                      <a:pt x="369777" y="317639"/>
                      <a:pt x="376915" y="324774"/>
                      <a:pt x="376915" y="333336"/>
                    </a:cubicBezTo>
                    <a:cubicBezTo>
                      <a:pt x="376915" y="333336"/>
                      <a:pt x="376915" y="333336"/>
                      <a:pt x="376915" y="675110"/>
                    </a:cubicBezTo>
                    <a:cubicBezTo>
                      <a:pt x="376915" y="675110"/>
                      <a:pt x="376915" y="675110"/>
                      <a:pt x="1289220" y="675110"/>
                    </a:cubicBezTo>
                    <a:cubicBezTo>
                      <a:pt x="1297787" y="675110"/>
                      <a:pt x="1304925" y="682245"/>
                      <a:pt x="1304925" y="690808"/>
                    </a:cubicBezTo>
                    <a:cubicBezTo>
                      <a:pt x="1304925" y="690808"/>
                      <a:pt x="1304925" y="690808"/>
                      <a:pt x="1304925" y="1092517"/>
                    </a:cubicBezTo>
                    <a:cubicBezTo>
                      <a:pt x="1304925" y="1101079"/>
                      <a:pt x="1297787" y="1108214"/>
                      <a:pt x="1289220" y="1108214"/>
                    </a:cubicBezTo>
                    <a:cubicBezTo>
                      <a:pt x="1289220" y="1108214"/>
                      <a:pt x="1289220" y="1108214"/>
                      <a:pt x="15705" y="1108214"/>
                    </a:cubicBezTo>
                    <a:cubicBezTo>
                      <a:pt x="7139" y="1108214"/>
                      <a:pt x="0" y="1101079"/>
                      <a:pt x="0" y="1092517"/>
                    </a:cubicBezTo>
                    <a:cubicBezTo>
                      <a:pt x="0" y="1092517"/>
                      <a:pt x="0" y="1092517"/>
                      <a:pt x="0" y="690808"/>
                    </a:cubicBezTo>
                    <a:cubicBezTo>
                      <a:pt x="0" y="682245"/>
                      <a:pt x="7139" y="675110"/>
                      <a:pt x="15705" y="675110"/>
                    </a:cubicBezTo>
                    <a:cubicBezTo>
                      <a:pt x="15705" y="675110"/>
                      <a:pt x="15705" y="675110"/>
                      <a:pt x="345506" y="675110"/>
                    </a:cubicBezTo>
                    <a:cubicBezTo>
                      <a:pt x="345506" y="675110"/>
                      <a:pt x="345506" y="675110"/>
                      <a:pt x="345506" y="333336"/>
                    </a:cubicBezTo>
                    <a:cubicBezTo>
                      <a:pt x="345506" y="324774"/>
                      <a:pt x="352644" y="317639"/>
                      <a:pt x="361210" y="317639"/>
                    </a:cubicBezTo>
                    <a:close/>
                    <a:moveTo>
                      <a:pt x="343821" y="201954"/>
                    </a:moveTo>
                    <a:cubicBezTo>
                      <a:pt x="375241" y="196989"/>
                      <a:pt x="412373" y="203373"/>
                      <a:pt x="450933" y="233164"/>
                    </a:cubicBezTo>
                    <a:cubicBezTo>
                      <a:pt x="458074" y="238129"/>
                      <a:pt x="458788" y="248769"/>
                      <a:pt x="453076" y="255862"/>
                    </a:cubicBezTo>
                    <a:cubicBezTo>
                      <a:pt x="450219" y="260118"/>
                      <a:pt x="445221" y="262246"/>
                      <a:pt x="440222" y="262246"/>
                    </a:cubicBezTo>
                    <a:cubicBezTo>
                      <a:pt x="436652" y="262246"/>
                      <a:pt x="433081" y="260827"/>
                      <a:pt x="430225" y="258699"/>
                    </a:cubicBezTo>
                    <a:cubicBezTo>
                      <a:pt x="356675" y="202664"/>
                      <a:pt x="299548" y="255152"/>
                      <a:pt x="297406" y="257280"/>
                    </a:cubicBezTo>
                    <a:cubicBezTo>
                      <a:pt x="290979" y="263664"/>
                      <a:pt x="280268" y="263664"/>
                      <a:pt x="273841" y="257280"/>
                    </a:cubicBezTo>
                    <a:cubicBezTo>
                      <a:pt x="266700" y="250897"/>
                      <a:pt x="266700" y="240257"/>
                      <a:pt x="273841" y="234582"/>
                    </a:cubicBezTo>
                    <a:cubicBezTo>
                      <a:pt x="287409" y="221106"/>
                      <a:pt x="312401" y="206210"/>
                      <a:pt x="343821" y="201954"/>
                    </a:cubicBezTo>
                    <a:close/>
                    <a:moveTo>
                      <a:pt x="379737" y="101041"/>
                    </a:moveTo>
                    <a:cubicBezTo>
                      <a:pt x="420408" y="104595"/>
                      <a:pt x="467427" y="120020"/>
                      <a:pt x="516864" y="157576"/>
                    </a:cubicBezTo>
                    <a:cubicBezTo>
                      <a:pt x="524029" y="163299"/>
                      <a:pt x="525462" y="173314"/>
                      <a:pt x="519730" y="181183"/>
                    </a:cubicBezTo>
                    <a:cubicBezTo>
                      <a:pt x="516864" y="185475"/>
                      <a:pt x="511849" y="187621"/>
                      <a:pt x="506834" y="187621"/>
                    </a:cubicBezTo>
                    <a:cubicBezTo>
                      <a:pt x="503251" y="187621"/>
                      <a:pt x="499669" y="186191"/>
                      <a:pt x="496803" y="184045"/>
                    </a:cubicBezTo>
                    <a:cubicBezTo>
                      <a:pt x="349924" y="73164"/>
                      <a:pt x="236720" y="178322"/>
                      <a:pt x="231705" y="182614"/>
                    </a:cubicBezTo>
                    <a:cubicBezTo>
                      <a:pt x="225256" y="189052"/>
                      <a:pt x="214509" y="189052"/>
                      <a:pt x="207344" y="181899"/>
                    </a:cubicBezTo>
                    <a:cubicBezTo>
                      <a:pt x="201612" y="175460"/>
                      <a:pt x="201612" y="164730"/>
                      <a:pt x="208061" y="159007"/>
                    </a:cubicBezTo>
                    <a:cubicBezTo>
                      <a:pt x="210210" y="157576"/>
                      <a:pt x="243885" y="125385"/>
                      <a:pt x="298337" y="108932"/>
                    </a:cubicBezTo>
                    <a:cubicBezTo>
                      <a:pt x="311234" y="105355"/>
                      <a:pt x="325564" y="102494"/>
                      <a:pt x="341326" y="101063"/>
                    </a:cubicBezTo>
                    <a:cubicBezTo>
                      <a:pt x="353327" y="99990"/>
                      <a:pt x="366179" y="99856"/>
                      <a:pt x="379737" y="101041"/>
                    </a:cubicBezTo>
                    <a:close/>
                    <a:moveTo>
                      <a:pt x="331562" y="1096"/>
                    </a:moveTo>
                    <a:cubicBezTo>
                      <a:pt x="400202" y="-4623"/>
                      <a:pt x="487432" y="10389"/>
                      <a:pt x="580382" y="85447"/>
                    </a:cubicBezTo>
                    <a:cubicBezTo>
                      <a:pt x="587532" y="91881"/>
                      <a:pt x="588962" y="101889"/>
                      <a:pt x="583242" y="109752"/>
                    </a:cubicBezTo>
                    <a:cubicBezTo>
                      <a:pt x="580382" y="113326"/>
                      <a:pt x="575377" y="115471"/>
                      <a:pt x="570372" y="115471"/>
                    </a:cubicBezTo>
                    <a:cubicBezTo>
                      <a:pt x="566797" y="115471"/>
                      <a:pt x="563937" y="114756"/>
                      <a:pt x="561077" y="112611"/>
                    </a:cubicBezTo>
                    <a:cubicBezTo>
                      <a:pt x="469557" y="39697"/>
                      <a:pt x="375177" y="16822"/>
                      <a:pt x="280797" y="45416"/>
                    </a:cubicBezTo>
                    <a:cubicBezTo>
                      <a:pt x="210012" y="66861"/>
                      <a:pt x="165682" y="110467"/>
                      <a:pt x="164967" y="111182"/>
                    </a:cubicBezTo>
                    <a:cubicBezTo>
                      <a:pt x="158532" y="117615"/>
                      <a:pt x="147807" y="117615"/>
                      <a:pt x="141372" y="110467"/>
                    </a:cubicBezTo>
                    <a:cubicBezTo>
                      <a:pt x="134937" y="104033"/>
                      <a:pt x="135652" y="94025"/>
                      <a:pt x="142087" y="86877"/>
                    </a:cubicBezTo>
                    <a:cubicBezTo>
                      <a:pt x="144232" y="84732"/>
                      <a:pt x="192137" y="37553"/>
                      <a:pt x="270072" y="13248"/>
                    </a:cubicBezTo>
                    <a:cubicBezTo>
                      <a:pt x="287947" y="7529"/>
                      <a:pt x="308682" y="3240"/>
                      <a:pt x="331562" y="1096"/>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49" name="TextBox 48">
              <a:extLst>
                <a:ext uri="{FF2B5EF4-FFF2-40B4-BE49-F238E27FC236}">
                  <a16:creationId xmlns:a16="http://schemas.microsoft.com/office/drawing/2014/main" id="{9AF8CBF7-8EC7-42C2-8626-C09158DCA2F6}"/>
                </a:ext>
              </a:extLst>
            </p:cNvPr>
            <p:cNvSpPr txBox="1"/>
            <p:nvPr/>
          </p:nvSpPr>
          <p:spPr>
            <a:xfrm>
              <a:off x="7806808" y="3429179"/>
              <a:ext cx="3540065" cy="1334639"/>
            </a:xfrm>
            <a:prstGeom prst="rect">
              <a:avLst/>
            </a:prstGeom>
            <a:noFill/>
            <a:ln w="9525" cap="rnd" cmpd="sng" algn="ctr">
              <a:solidFill>
                <a:srgbClr val="16448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000000"/>
                  </a:solidFill>
                </a:rPr>
                <a:t>Many Americans are not aware of available service offers or lack the digital skills to participate online</a:t>
              </a:r>
            </a:p>
          </p:txBody>
        </p:sp>
      </p:grpSp>
    </p:spTree>
    <p:extLst>
      <p:ext uri="{BB962C8B-B14F-4D97-AF65-F5344CB8AC3E}">
        <p14:creationId xmlns:p14="http://schemas.microsoft.com/office/powerpoint/2010/main" val="2673664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626476-9DAC-4CE3-BE22-A222D31680D3}"/>
              </a:ext>
            </a:extLst>
          </p:cNvPr>
          <p:cNvGraphicFramePr>
            <a:graphicFrameLocks noChangeAspect="1"/>
          </p:cNvGraphicFramePr>
          <p:nvPr>
            <p:custDataLst>
              <p:tags r:id="rId2"/>
            </p:custDataLst>
            <p:extLst>
              <p:ext uri="{D42A27DB-BD31-4B8C-83A1-F6EECF244321}">
                <p14:modId xmlns:p14="http://schemas.microsoft.com/office/powerpoint/2010/main" val="204192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2"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60626476-9DAC-4CE3-BE22-A222D31680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400051" y="387882"/>
            <a:ext cx="9976848" cy="566735"/>
          </a:xfrm>
          <a:prstGeom prst="rect">
            <a:avLst/>
          </a:prstGeom>
        </p:spPr>
        <p:txBody>
          <a:bodyPr vert="horz"/>
          <a:lstStyle/>
          <a:p>
            <a:pPr>
              <a:buSzPts val="3000"/>
            </a:pPr>
            <a:r>
              <a:rPr lang="en-US" sz="2700" cap="none" dirty="0">
                <a:solidFill>
                  <a:srgbClr val="164484"/>
                </a:solidFill>
              </a:rPr>
              <a:t>Americans require a range of Internet tools and services to maximize the benefits of high-speed Internet access</a:t>
            </a:r>
          </a:p>
        </p:txBody>
      </p:sp>
      <p:sp>
        <p:nvSpPr>
          <p:cNvPr id="33" name="Arrow: Right 32">
            <a:extLst>
              <a:ext uri="{FF2B5EF4-FFF2-40B4-BE49-F238E27FC236}">
                <a16:creationId xmlns:a16="http://schemas.microsoft.com/office/drawing/2014/main" id="{BB27727A-9C98-431C-AAE8-623930B8F299}"/>
              </a:ext>
            </a:extLst>
          </p:cNvPr>
          <p:cNvSpPr/>
          <p:nvPr/>
        </p:nvSpPr>
        <p:spPr>
          <a:xfrm>
            <a:off x="400050" y="3568373"/>
            <a:ext cx="11791950" cy="1291528"/>
          </a:xfrm>
          <a:prstGeom prst="rightArrow">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 name="Rectangle 8">
            <a:extLst>
              <a:ext uri="{FF2B5EF4-FFF2-40B4-BE49-F238E27FC236}">
                <a16:creationId xmlns:a16="http://schemas.microsoft.com/office/drawing/2014/main" id="{88C6BA46-3FD7-4024-A6F2-DAFE334E1C51}"/>
              </a:ext>
            </a:extLst>
          </p:cNvPr>
          <p:cNvSpPr/>
          <p:nvPr/>
        </p:nvSpPr>
        <p:spPr>
          <a:xfrm>
            <a:off x="647701" y="3417308"/>
            <a:ext cx="1665409" cy="1593657"/>
          </a:xfrm>
          <a:prstGeom prst="rect">
            <a:avLst/>
          </a:prstGeom>
          <a:solidFill>
            <a:srgbClr val="164484"/>
          </a:solidFill>
          <a:ln w="8572" cap="rnd" cmpd="sng" algn="ctr">
            <a:noFill/>
            <a:prstDash val="solid"/>
            <a:round/>
            <a:headEnd type="none" w="med" len="med"/>
            <a:tailEnd type="none" w="med" len="med"/>
          </a:ln>
          <a:effectLst/>
          <a:extLst>
            <a:ext uri="{91240B29-F687-4F45-9708-019B960494DF}">
              <a14:hiddenLine xmlns:a14="http://schemas.microsoft.com/office/drawing/2010/main" w="8572"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Access to affordable, robust high-speed Internet</a:t>
            </a:r>
            <a:br>
              <a:rPr lang="en-US" sz="1600" b="1" dirty="0">
                <a:solidFill>
                  <a:schemeClr val="bg1"/>
                </a:solidFill>
              </a:rPr>
            </a:br>
            <a:r>
              <a:rPr lang="en-US" sz="1600" b="1" dirty="0">
                <a:solidFill>
                  <a:schemeClr val="bg1"/>
                </a:solidFill>
              </a:rPr>
              <a:t>service</a:t>
            </a:r>
          </a:p>
        </p:txBody>
      </p:sp>
      <p:sp>
        <p:nvSpPr>
          <p:cNvPr id="10" name="Rectangle 9">
            <a:extLst>
              <a:ext uri="{FF2B5EF4-FFF2-40B4-BE49-F238E27FC236}">
                <a16:creationId xmlns:a16="http://schemas.microsoft.com/office/drawing/2014/main" id="{7006BACA-4F60-41EF-AC38-C95453C2D907}"/>
              </a:ext>
            </a:extLst>
          </p:cNvPr>
          <p:cNvSpPr/>
          <p:nvPr/>
        </p:nvSpPr>
        <p:spPr>
          <a:xfrm>
            <a:off x="2432105" y="3417308"/>
            <a:ext cx="1665409" cy="1593657"/>
          </a:xfrm>
          <a:prstGeom prst="rect">
            <a:avLst/>
          </a:prstGeom>
          <a:solidFill>
            <a:srgbClr val="164484"/>
          </a:solidFill>
          <a:ln w="8572" cap="rnd" cmpd="sng" algn="ctr">
            <a:noFill/>
            <a:prstDash val="solid"/>
            <a:round/>
            <a:headEnd type="none" w="med" len="med"/>
            <a:tailEnd type="none" w="med" len="med"/>
          </a:ln>
          <a:effectLst/>
          <a:extLst>
            <a:ext uri="{91240B29-F687-4F45-9708-019B960494DF}">
              <a14:hiddenLine xmlns:a14="http://schemas.microsoft.com/office/drawing/2010/main" w="8572"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Internet-enabled devices that meet user needs</a:t>
            </a:r>
          </a:p>
        </p:txBody>
      </p:sp>
      <p:sp>
        <p:nvSpPr>
          <p:cNvPr id="15" name="Rectangle 14">
            <a:extLst>
              <a:ext uri="{FF2B5EF4-FFF2-40B4-BE49-F238E27FC236}">
                <a16:creationId xmlns:a16="http://schemas.microsoft.com/office/drawing/2014/main" id="{E315446C-BE1D-46A8-9ACC-E95804850FAB}"/>
              </a:ext>
            </a:extLst>
          </p:cNvPr>
          <p:cNvSpPr/>
          <p:nvPr/>
        </p:nvSpPr>
        <p:spPr>
          <a:xfrm>
            <a:off x="6000916" y="3417308"/>
            <a:ext cx="1665409" cy="1593657"/>
          </a:xfrm>
          <a:prstGeom prst="rect">
            <a:avLst/>
          </a:prstGeom>
          <a:solidFill>
            <a:srgbClr val="164484"/>
          </a:solidFill>
          <a:ln w="8572" cap="rnd" cmpd="sng" algn="ctr">
            <a:noFill/>
            <a:prstDash val="solid"/>
            <a:round/>
            <a:headEnd type="none" w="med" len="med"/>
            <a:tailEnd type="none" w="med" len="med"/>
          </a:ln>
          <a:effectLst/>
          <a:extLst>
            <a:ext uri="{91240B29-F687-4F45-9708-019B960494DF}">
              <a14:hiddenLine xmlns:a14="http://schemas.microsoft.com/office/drawing/2010/main" w="8572"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Access to digital literacy training</a:t>
            </a:r>
          </a:p>
        </p:txBody>
      </p:sp>
      <p:sp>
        <p:nvSpPr>
          <p:cNvPr id="12" name="Rectangle 11">
            <a:extLst>
              <a:ext uri="{FF2B5EF4-FFF2-40B4-BE49-F238E27FC236}">
                <a16:creationId xmlns:a16="http://schemas.microsoft.com/office/drawing/2014/main" id="{7E3794F0-64B0-4AAB-93DA-B43EEBC3C1F9}"/>
              </a:ext>
            </a:extLst>
          </p:cNvPr>
          <p:cNvSpPr/>
          <p:nvPr/>
        </p:nvSpPr>
        <p:spPr>
          <a:xfrm>
            <a:off x="4216511" y="3417308"/>
            <a:ext cx="1665409" cy="1593657"/>
          </a:xfrm>
          <a:prstGeom prst="rect">
            <a:avLst/>
          </a:prstGeom>
          <a:solidFill>
            <a:srgbClr val="164484"/>
          </a:solidFill>
          <a:ln w="8572" cap="rnd" cmpd="sng" algn="ctr">
            <a:noFill/>
            <a:prstDash val="solid"/>
            <a:round/>
            <a:headEnd type="none" w="med" len="med"/>
            <a:tailEnd type="none" w="med" len="med"/>
          </a:ln>
          <a:effectLst/>
          <a:extLst>
            <a:ext uri="{91240B29-F687-4F45-9708-019B960494DF}">
              <a14:hiddenLine xmlns:a14="http://schemas.microsoft.com/office/drawing/2010/main" w="8572"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Applications and online content</a:t>
            </a:r>
          </a:p>
        </p:txBody>
      </p:sp>
      <p:sp>
        <p:nvSpPr>
          <p:cNvPr id="24" name="Rectangle 23">
            <a:extLst>
              <a:ext uri="{FF2B5EF4-FFF2-40B4-BE49-F238E27FC236}">
                <a16:creationId xmlns:a16="http://schemas.microsoft.com/office/drawing/2014/main" id="{0D6D6151-BF30-4C91-9EC2-F80C382C324C}"/>
              </a:ext>
            </a:extLst>
          </p:cNvPr>
          <p:cNvSpPr/>
          <p:nvPr/>
        </p:nvSpPr>
        <p:spPr>
          <a:xfrm>
            <a:off x="9569728" y="3417308"/>
            <a:ext cx="1665409" cy="1593657"/>
          </a:xfrm>
          <a:prstGeom prst="rect">
            <a:avLst/>
          </a:prstGeom>
          <a:solidFill>
            <a:srgbClr val="164484"/>
          </a:solidFill>
          <a:ln w="8572" cap="rnd" cmpd="sng" algn="ctr">
            <a:noFill/>
            <a:prstDash val="solid"/>
            <a:round/>
            <a:headEnd type="none" w="med" len="med"/>
            <a:tailEnd type="none" w="med" len="med"/>
          </a:ln>
          <a:effectLst/>
          <a:extLst>
            <a:ext uri="{91240B29-F687-4F45-9708-019B960494DF}">
              <a14:hiddenLine xmlns:a14="http://schemas.microsoft.com/office/drawing/2010/main" w="8572"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Measures to ensure online privacy &amp; cybersecurity</a:t>
            </a:r>
          </a:p>
        </p:txBody>
      </p:sp>
      <p:sp>
        <p:nvSpPr>
          <p:cNvPr id="19" name="Rectangle 18">
            <a:extLst>
              <a:ext uri="{FF2B5EF4-FFF2-40B4-BE49-F238E27FC236}">
                <a16:creationId xmlns:a16="http://schemas.microsoft.com/office/drawing/2014/main" id="{037BC59A-BE6B-47EB-A621-3B151E023EEE}"/>
              </a:ext>
            </a:extLst>
          </p:cNvPr>
          <p:cNvSpPr/>
          <p:nvPr/>
        </p:nvSpPr>
        <p:spPr>
          <a:xfrm>
            <a:off x="7785322" y="3417308"/>
            <a:ext cx="1665409" cy="1593657"/>
          </a:xfrm>
          <a:prstGeom prst="rect">
            <a:avLst/>
          </a:prstGeom>
          <a:solidFill>
            <a:srgbClr val="164484"/>
          </a:solidFill>
          <a:ln w="8572" cap="rnd" cmpd="sng" algn="ctr">
            <a:noFill/>
            <a:prstDash val="solid"/>
            <a:round/>
            <a:headEnd type="none" w="med" len="med"/>
            <a:tailEnd type="none" w="med" len="med"/>
          </a:ln>
          <a:effectLst/>
          <a:extLst>
            <a:ext uri="{91240B29-F687-4F45-9708-019B960494DF}">
              <a14:hiddenLine xmlns:a14="http://schemas.microsoft.com/office/drawing/2010/main" w="8572"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Quality</a:t>
            </a:r>
            <a:br>
              <a:rPr lang="en-US" sz="1600" b="1" dirty="0">
                <a:solidFill>
                  <a:schemeClr val="bg1"/>
                </a:solidFill>
              </a:rPr>
            </a:br>
            <a:r>
              <a:rPr lang="en-US" sz="1600" b="1" dirty="0">
                <a:solidFill>
                  <a:schemeClr val="bg1"/>
                </a:solidFill>
              </a:rPr>
              <a:t>technical support</a:t>
            </a:r>
          </a:p>
        </p:txBody>
      </p:sp>
      <p:grpSp>
        <p:nvGrpSpPr>
          <p:cNvPr id="84" name="Group 83">
            <a:extLst>
              <a:ext uri="{FF2B5EF4-FFF2-40B4-BE49-F238E27FC236}">
                <a16:creationId xmlns:a16="http://schemas.microsoft.com/office/drawing/2014/main" id="{5DD6A245-1769-455D-B031-6B051B45AAB1}"/>
              </a:ext>
            </a:extLst>
          </p:cNvPr>
          <p:cNvGrpSpPr>
            <a:grpSpLocks noChangeAspect="1"/>
          </p:cNvGrpSpPr>
          <p:nvPr/>
        </p:nvGrpSpPr>
        <p:grpSpPr>
          <a:xfrm>
            <a:off x="962202" y="2176247"/>
            <a:ext cx="1036407" cy="1035407"/>
            <a:chOff x="5273675" y="2606675"/>
            <a:chExt cx="1646238" cy="1644650"/>
          </a:xfrm>
        </p:grpSpPr>
        <p:sp>
          <p:nvSpPr>
            <p:cNvPr id="85" name="AutoShape 3">
              <a:extLst>
                <a:ext uri="{FF2B5EF4-FFF2-40B4-BE49-F238E27FC236}">
                  <a16:creationId xmlns:a16="http://schemas.microsoft.com/office/drawing/2014/main" id="{8D6A6204-D096-45CF-8C56-C164A31F173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6" name="Group 85">
              <a:extLst>
                <a:ext uri="{FF2B5EF4-FFF2-40B4-BE49-F238E27FC236}">
                  <a16:creationId xmlns:a16="http://schemas.microsoft.com/office/drawing/2014/main" id="{264C3305-C7BF-4F25-9546-F721B4884908}"/>
                </a:ext>
              </a:extLst>
            </p:cNvPr>
            <p:cNvGrpSpPr/>
            <p:nvPr/>
          </p:nvGrpSpPr>
          <p:grpSpPr>
            <a:xfrm>
              <a:off x="5372353" y="2828925"/>
              <a:ext cx="1447294" cy="1169989"/>
              <a:chOff x="5372353" y="2828925"/>
              <a:chExt cx="1447294" cy="1169989"/>
            </a:xfrm>
          </p:grpSpPr>
          <p:sp>
            <p:nvSpPr>
              <p:cNvPr id="87" name="Freeform 22">
                <a:extLst>
                  <a:ext uri="{FF2B5EF4-FFF2-40B4-BE49-F238E27FC236}">
                    <a16:creationId xmlns:a16="http://schemas.microsoft.com/office/drawing/2014/main" id="{5746F169-1430-4AE3-A82C-3A9E0E8A064F}"/>
                  </a:ext>
                </a:extLst>
              </p:cNvPr>
              <p:cNvSpPr>
                <a:spLocks/>
              </p:cNvSpPr>
              <p:nvPr/>
            </p:nvSpPr>
            <p:spPr bwMode="auto">
              <a:xfrm>
                <a:off x="5372353" y="2828925"/>
                <a:ext cx="1447294" cy="1169989"/>
              </a:xfrm>
              <a:custGeom>
                <a:avLst/>
                <a:gdLst>
                  <a:gd name="connsiteX0" fmla="*/ 722059 w 1447294"/>
                  <a:gd name="connsiteY0" fmla="*/ 917575 h 1169989"/>
                  <a:gd name="connsiteX1" fmla="*/ 849059 w 1447294"/>
                  <a:gd name="connsiteY1" fmla="*/ 1043782 h 1169989"/>
                  <a:gd name="connsiteX2" fmla="*/ 722059 w 1447294"/>
                  <a:gd name="connsiteY2" fmla="*/ 1169989 h 1169989"/>
                  <a:gd name="connsiteX3" fmla="*/ 595059 w 1447294"/>
                  <a:gd name="connsiteY3" fmla="*/ 1043782 h 1169989"/>
                  <a:gd name="connsiteX4" fmla="*/ 722059 w 1447294"/>
                  <a:gd name="connsiteY4" fmla="*/ 917575 h 1169989"/>
                  <a:gd name="connsiteX5" fmla="*/ 722139 w 1447294"/>
                  <a:gd name="connsiteY5" fmla="*/ 644525 h 1169989"/>
                  <a:gd name="connsiteX6" fmla="*/ 462472 w 1447294"/>
                  <a:gd name="connsiteY6" fmla="*/ 740929 h 1169989"/>
                  <a:gd name="connsiteX7" fmla="*/ 441071 w 1447294"/>
                  <a:gd name="connsiteY7" fmla="*/ 759495 h 1169989"/>
                  <a:gd name="connsiteX8" fmla="*/ 518829 w 1447294"/>
                  <a:gd name="connsiteY8" fmla="*/ 850186 h 1169989"/>
                  <a:gd name="connsiteX9" fmla="*/ 540943 w 1447294"/>
                  <a:gd name="connsiteY9" fmla="*/ 831619 h 1169989"/>
                  <a:gd name="connsiteX10" fmla="*/ 722139 w 1447294"/>
                  <a:gd name="connsiteY10" fmla="*/ 764494 h 1169989"/>
                  <a:gd name="connsiteX11" fmla="*/ 904762 w 1447294"/>
                  <a:gd name="connsiteY11" fmla="*/ 832334 h 1169989"/>
                  <a:gd name="connsiteX12" fmla="*/ 926163 w 1447294"/>
                  <a:gd name="connsiteY12" fmla="*/ 850900 h 1169989"/>
                  <a:gd name="connsiteX13" fmla="*/ 1004634 w 1447294"/>
                  <a:gd name="connsiteY13" fmla="*/ 760209 h 1169989"/>
                  <a:gd name="connsiteX14" fmla="*/ 983233 w 1447294"/>
                  <a:gd name="connsiteY14" fmla="*/ 741643 h 1169989"/>
                  <a:gd name="connsiteX15" fmla="*/ 722139 w 1447294"/>
                  <a:gd name="connsiteY15" fmla="*/ 644525 h 1169989"/>
                  <a:gd name="connsiteX16" fmla="*/ 722932 w 1447294"/>
                  <a:gd name="connsiteY16" fmla="*/ 614363 h 1169989"/>
                  <a:gd name="connsiteX17" fmla="*/ 1005180 w 1447294"/>
                  <a:gd name="connsiteY17" fmla="*/ 718746 h 1169989"/>
                  <a:gd name="connsiteX18" fmla="*/ 1038764 w 1447294"/>
                  <a:gd name="connsiteY18" fmla="*/ 747860 h 1169989"/>
                  <a:gd name="connsiteX19" fmla="*/ 1040193 w 1447294"/>
                  <a:gd name="connsiteY19" fmla="*/ 769873 h 1169989"/>
                  <a:gd name="connsiteX20" fmla="*/ 940870 w 1447294"/>
                  <a:gd name="connsiteY20" fmla="*/ 883487 h 1169989"/>
                  <a:gd name="connsiteX21" fmla="*/ 918719 w 1447294"/>
                  <a:gd name="connsiteY21" fmla="*/ 884907 h 1169989"/>
                  <a:gd name="connsiteX22" fmla="*/ 885135 w 1447294"/>
                  <a:gd name="connsiteY22" fmla="*/ 856504 h 1169989"/>
                  <a:gd name="connsiteX23" fmla="*/ 722932 w 1447294"/>
                  <a:gd name="connsiteY23" fmla="*/ 796146 h 1169989"/>
                  <a:gd name="connsiteX24" fmla="*/ 561444 w 1447294"/>
                  <a:gd name="connsiteY24" fmla="*/ 855794 h 1169989"/>
                  <a:gd name="connsiteX25" fmla="*/ 527860 w 1447294"/>
                  <a:gd name="connsiteY25" fmla="*/ 884197 h 1169989"/>
                  <a:gd name="connsiteX26" fmla="*/ 505709 w 1447294"/>
                  <a:gd name="connsiteY26" fmla="*/ 882777 h 1169989"/>
                  <a:gd name="connsiteX27" fmla="*/ 407101 w 1447294"/>
                  <a:gd name="connsiteY27" fmla="*/ 768453 h 1169989"/>
                  <a:gd name="connsiteX28" fmla="*/ 408530 w 1447294"/>
                  <a:gd name="connsiteY28" fmla="*/ 746440 h 1169989"/>
                  <a:gd name="connsiteX29" fmla="*/ 442114 w 1447294"/>
                  <a:gd name="connsiteY29" fmla="*/ 718036 h 1169989"/>
                  <a:gd name="connsiteX30" fmla="*/ 722932 w 1447294"/>
                  <a:gd name="connsiteY30" fmla="*/ 614363 h 1169989"/>
                  <a:gd name="connsiteX31" fmla="*/ 722139 w 1447294"/>
                  <a:gd name="connsiteY31" fmla="*/ 338138 h 1169989"/>
                  <a:gd name="connsiteX32" fmla="*/ 262460 w 1447294"/>
                  <a:gd name="connsiteY32" fmla="*/ 508585 h 1169989"/>
                  <a:gd name="connsiteX33" fmla="*/ 241046 w 1447294"/>
                  <a:gd name="connsiteY33" fmla="*/ 527128 h 1169989"/>
                  <a:gd name="connsiteX34" fmla="*/ 318849 w 1447294"/>
                  <a:gd name="connsiteY34" fmla="*/ 618413 h 1169989"/>
                  <a:gd name="connsiteX35" fmla="*/ 340976 w 1447294"/>
                  <a:gd name="connsiteY35" fmla="*/ 599871 h 1169989"/>
                  <a:gd name="connsiteX36" fmla="*/ 722139 w 1447294"/>
                  <a:gd name="connsiteY36" fmla="*/ 457950 h 1169989"/>
                  <a:gd name="connsiteX37" fmla="*/ 1104729 w 1447294"/>
                  <a:gd name="connsiteY37" fmla="*/ 600584 h 1169989"/>
                  <a:gd name="connsiteX38" fmla="*/ 1126143 w 1447294"/>
                  <a:gd name="connsiteY38" fmla="*/ 619126 h 1169989"/>
                  <a:gd name="connsiteX39" fmla="*/ 1204659 w 1447294"/>
                  <a:gd name="connsiteY39" fmla="*/ 527841 h 1169989"/>
                  <a:gd name="connsiteX40" fmla="*/ 1183246 w 1447294"/>
                  <a:gd name="connsiteY40" fmla="*/ 509298 h 1169989"/>
                  <a:gd name="connsiteX41" fmla="*/ 722139 w 1447294"/>
                  <a:gd name="connsiteY41" fmla="*/ 338138 h 1169989"/>
                  <a:gd name="connsiteX42" fmla="*/ 722932 w 1447294"/>
                  <a:gd name="connsiteY42" fmla="*/ 306388 h 1169989"/>
                  <a:gd name="connsiteX43" fmla="*/ 1205209 w 1447294"/>
                  <a:gd name="connsiteY43" fmla="*/ 485817 h 1169989"/>
                  <a:gd name="connsiteX44" fmla="*/ 1238075 w 1447294"/>
                  <a:gd name="connsiteY44" fmla="*/ 515127 h 1169989"/>
                  <a:gd name="connsiteX45" fmla="*/ 1240218 w 1447294"/>
                  <a:gd name="connsiteY45" fmla="*/ 537287 h 1169989"/>
                  <a:gd name="connsiteX46" fmla="*/ 1140905 w 1447294"/>
                  <a:gd name="connsiteY46" fmla="*/ 651665 h 1169989"/>
                  <a:gd name="connsiteX47" fmla="*/ 1118756 w 1447294"/>
                  <a:gd name="connsiteY47" fmla="*/ 653094 h 1169989"/>
                  <a:gd name="connsiteX48" fmla="*/ 1085175 w 1447294"/>
                  <a:gd name="connsiteY48" fmla="*/ 624500 h 1169989"/>
                  <a:gd name="connsiteX49" fmla="*/ 722932 w 1447294"/>
                  <a:gd name="connsiteY49" fmla="*/ 489392 h 1169989"/>
                  <a:gd name="connsiteX50" fmla="*/ 361404 w 1447294"/>
                  <a:gd name="connsiteY50" fmla="*/ 623785 h 1169989"/>
                  <a:gd name="connsiteX51" fmla="*/ 327823 w 1447294"/>
                  <a:gd name="connsiteY51" fmla="*/ 652379 h 1169989"/>
                  <a:gd name="connsiteX52" fmla="*/ 305674 w 1447294"/>
                  <a:gd name="connsiteY52" fmla="*/ 650950 h 1169989"/>
                  <a:gd name="connsiteX53" fmla="*/ 207075 w 1447294"/>
                  <a:gd name="connsiteY53" fmla="*/ 535858 h 1169989"/>
                  <a:gd name="connsiteX54" fmla="*/ 208504 w 1447294"/>
                  <a:gd name="connsiteY54" fmla="*/ 513697 h 1169989"/>
                  <a:gd name="connsiteX55" fmla="*/ 242085 w 1447294"/>
                  <a:gd name="connsiteY55" fmla="*/ 485103 h 1169989"/>
                  <a:gd name="connsiteX56" fmla="*/ 722932 w 1447294"/>
                  <a:gd name="connsiteY56" fmla="*/ 306388 h 1169989"/>
                  <a:gd name="connsiteX57" fmla="*/ 721859 w 1447294"/>
                  <a:gd name="connsiteY57" fmla="*/ 31750 h 1169989"/>
                  <a:gd name="connsiteX58" fmla="*/ 61433 w 1447294"/>
                  <a:gd name="connsiteY58" fmla="*/ 276175 h 1169989"/>
                  <a:gd name="connsiteX59" fmla="*/ 37846 w 1447294"/>
                  <a:gd name="connsiteY59" fmla="*/ 296901 h 1169989"/>
                  <a:gd name="connsiteX60" fmla="*/ 115754 w 1447294"/>
                  <a:gd name="connsiteY60" fmla="*/ 387666 h 1169989"/>
                  <a:gd name="connsiteX61" fmla="*/ 140055 w 1447294"/>
                  <a:gd name="connsiteY61" fmla="*/ 367655 h 1169989"/>
                  <a:gd name="connsiteX62" fmla="*/ 721859 w 1447294"/>
                  <a:gd name="connsiteY62" fmla="*/ 151818 h 1169989"/>
                  <a:gd name="connsiteX63" fmla="*/ 1307237 w 1447294"/>
                  <a:gd name="connsiteY63" fmla="*/ 369799 h 1169989"/>
                  <a:gd name="connsiteX64" fmla="*/ 1330824 w 1447294"/>
                  <a:gd name="connsiteY64" fmla="*/ 390525 h 1169989"/>
                  <a:gd name="connsiteX65" fmla="*/ 1409446 w 1447294"/>
                  <a:gd name="connsiteY65" fmla="*/ 299759 h 1169989"/>
                  <a:gd name="connsiteX66" fmla="*/ 1385860 w 1447294"/>
                  <a:gd name="connsiteY66" fmla="*/ 279033 h 1169989"/>
                  <a:gd name="connsiteX67" fmla="*/ 721859 w 1447294"/>
                  <a:gd name="connsiteY67" fmla="*/ 31750 h 1169989"/>
                  <a:gd name="connsiteX68" fmla="*/ 721861 w 1447294"/>
                  <a:gd name="connsiteY68" fmla="*/ 0 h 1169989"/>
                  <a:gd name="connsiteX69" fmla="*/ 1406269 w 1447294"/>
                  <a:gd name="connsiteY69" fmla="*/ 255551 h 1169989"/>
                  <a:gd name="connsiteX70" fmla="*/ 1441990 w 1447294"/>
                  <a:gd name="connsiteY70" fmla="*/ 286332 h 1169989"/>
                  <a:gd name="connsiteX71" fmla="*/ 1443419 w 1447294"/>
                  <a:gd name="connsiteY71" fmla="*/ 308522 h 1169989"/>
                  <a:gd name="connsiteX72" fmla="*/ 1344115 w 1447294"/>
                  <a:gd name="connsiteY72" fmla="*/ 423055 h 1169989"/>
                  <a:gd name="connsiteX73" fmla="*/ 1321968 w 1447294"/>
                  <a:gd name="connsiteY73" fmla="*/ 424487 h 1169989"/>
                  <a:gd name="connsiteX74" fmla="*/ 1286248 w 1447294"/>
                  <a:gd name="connsiteY74" fmla="*/ 393706 h 1169989"/>
                  <a:gd name="connsiteX75" fmla="*/ 721861 w 1447294"/>
                  <a:gd name="connsiteY75" fmla="*/ 183252 h 1169989"/>
                  <a:gd name="connsiteX76" fmla="*/ 160331 w 1447294"/>
                  <a:gd name="connsiteY76" fmla="*/ 391558 h 1169989"/>
                  <a:gd name="connsiteX77" fmla="*/ 124611 w 1447294"/>
                  <a:gd name="connsiteY77" fmla="*/ 422339 h 1169989"/>
                  <a:gd name="connsiteX78" fmla="*/ 102464 w 1447294"/>
                  <a:gd name="connsiteY78" fmla="*/ 420907 h 1169989"/>
                  <a:gd name="connsiteX79" fmla="*/ 3875 w 1447294"/>
                  <a:gd name="connsiteY79" fmla="*/ 305659 h 1169989"/>
                  <a:gd name="connsiteX80" fmla="*/ 5303 w 1447294"/>
                  <a:gd name="connsiteY80" fmla="*/ 283468 h 1169989"/>
                  <a:gd name="connsiteX81" fmla="*/ 41024 w 1447294"/>
                  <a:gd name="connsiteY81" fmla="*/ 252688 h 1169989"/>
                  <a:gd name="connsiteX82" fmla="*/ 721861 w 1447294"/>
                  <a:gd name="connsiteY82" fmla="*/ 0 h 1169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447294" h="1169989">
                    <a:moveTo>
                      <a:pt x="722059" y="917575"/>
                    </a:moveTo>
                    <a:cubicBezTo>
                      <a:pt x="792199" y="917575"/>
                      <a:pt x="849059" y="974080"/>
                      <a:pt x="849059" y="1043782"/>
                    </a:cubicBezTo>
                    <a:cubicBezTo>
                      <a:pt x="849059" y="1113484"/>
                      <a:pt x="792199" y="1169989"/>
                      <a:pt x="722059" y="1169989"/>
                    </a:cubicBezTo>
                    <a:cubicBezTo>
                      <a:pt x="651919" y="1169989"/>
                      <a:pt x="595059" y="1113484"/>
                      <a:pt x="595059" y="1043782"/>
                    </a:cubicBezTo>
                    <a:cubicBezTo>
                      <a:pt x="595059" y="974080"/>
                      <a:pt x="651919" y="917575"/>
                      <a:pt x="722059" y="917575"/>
                    </a:cubicBezTo>
                    <a:close/>
                    <a:moveTo>
                      <a:pt x="722139" y="644525"/>
                    </a:moveTo>
                    <a:cubicBezTo>
                      <a:pt x="627261" y="644525"/>
                      <a:pt x="534523" y="678802"/>
                      <a:pt x="462472" y="740929"/>
                    </a:cubicBezTo>
                    <a:cubicBezTo>
                      <a:pt x="462472" y="740929"/>
                      <a:pt x="462472" y="740929"/>
                      <a:pt x="441071" y="759495"/>
                    </a:cubicBezTo>
                    <a:cubicBezTo>
                      <a:pt x="441071" y="759495"/>
                      <a:pt x="441071" y="759495"/>
                      <a:pt x="518829" y="850186"/>
                    </a:cubicBezTo>
                    <a:cubicBezTo>
                      <a:pt x="518829" y="850186"/>
                      <a:pt x="518829" y="850186"/>
                      <a:pt x="540943" y="831619"/>
                    </a:cubicBezTo>
                    <a:cubicBezTo>
                      <a:pt x="590879" y="788773"/>
                      <a:pt x="655796" y="764494"/>
                      <a:pt x="722139" y="764494"/>
                    </a:cubicBezTo>
                    <a:cubicBezTo>
                      <a:pt x="789196" y="764494"/>
                      <a:pt x="854113" y="788773"/>
                      <a:pt x="904762" y="832334"/>
                    </a:cubicBezTo>
                    <a:cubicBezTo>
                      <a:pt x="904762" y="832334"/>
                      <a:pt x="904762" y="832334"/>
                      <a:pt x="926163" y="850900"/>
                    </a:cubicBezTo>
                    <a:lnTo>
                      <a:pt x="1004634" y="760209"/>
                    </a:lnTo>
                    <a:cubicBezTo>
                      <a:pt x="1004634" y="760209"/>
                      <a:pt x="1004634" y="760209"/>
                      <a:pt x="983233" y="741643"/>
                    </a:cubicBezTo>
                    <a:cubicBezTo>
                      <a:pt x="910469" y="678802"/>
                      <a:pt x="818444" y="644525"/>
                      <a:pt x="722139" y="644525"/>
                    </a:cubicBezTo>
                    <a:close/>
                    <a:moveTo>
                      <a:pt x="722932" y="614363"/>
                    </a:moveTo>
                    <a:cubicBezTo>
                      <a:pt x="826542" y="614363"/>
                      <a:pt x="926579" y="651288"/>
                      <a:pt x="1005180" y="718746"/>
                    </a:cubicBezTo>
                    <a:lnTo>
                      <a:pt x="1038764" y="747860"/>
                    </a:lnTo>
                    <a:cubicBezTo>
                      <a:pt x="1045195" y="753541"/>
                      <a:pt x="1045909" y="762772"/>
                      <a:pt x="1040193" y="769873"/>
                    </a:cubicBezTo>
                    <a:cubicBezTo>
                      <a:pt x="1040193" y="769873"/>
                      <a:pt x="1040193" y="769873"/>
                      <a:pt x="940870" y="883487"/>
                    </a:cubicBezTo>
                    <a:cubicBezTo>
                      <a:pt x="935154" y="889878"/>
                      <a:pt x="925150" y="890588"/>
                      <a:pt x="918719" y="884907"/>
                    </a:cubicBezTo>
                    <a:cubicBezTo>
                      <a:pt x="918719" y="884907"/>
                      <a:pt x="918719" y="884907"/>
                      <a:pt x="885135" y="856504"/>
                    </a:cubicBezTo>
                    <a:cubicBezTo>
                      <a:pt x="840119" y="817449"/>
                      <a:pt x="782954" y="796146"/>
                      <a:pt x="722932" y="796146"/>
                    </a:cubicBezTo>
                    <a:cubicBezTo>
                      <a:pt x="663624" y="796146"/>
                      <a:pt x="606460" y="817449"/>
                      <a:pt x="561444" y="855794"/>
                    </a:cubicBezTo>
                    <a:cubicBezTo>
                      <a:pt x="561444" y="855794"/>
                      <a:pt x="561444" y="855794"/>
                      <a:pt x="527860" y="884197"/>
                    </a:cubicBezTo>
                    <a:cubicBezTo>
                      <a:pt x="521429" y="889878"/>
                      <a:pt x="511425" y="889168"/>
                      <a:pt x="505709" y="882777"/>
                    </a:cubicBezTo>
                    <a:cubicBezTo>
                      <a:pt x="505709" y="882777"/>
                      <a:pt x="505709" y="882777"/>
                      <a:pt x="407101" y="768453"/>
                    </a:cubicBezTo>
                    <a:cubicBezTo>
                      <a:pt x="401384" y="762062"/>
                      <a:pt x="402099" y="752121"/>
                      <a:pt x="408530" y="746440"/>
                    </a:cubicBezTo>
                    <a:cubicBezTo>
                      <a:pt x="408530" y="746440"/>
                      <a:pt x="408530" y="746440"/>
                      <a:pt x="442114" y="718036"/>
                    </a:cubicBezTo>
                    <a:cubicBezTo>
                      <a:pt x="520714" y="651288"/>
                      <a:pt x="620037" y="614363"/>
                      <a:pt x="722932" y="614363"/>
                    </a:cubicBezTo>
                    <a:close/>
                    <a:moveTo>
                      <a:pt x="722139" y="338138"/>
                    </a:moveTo>
                    <a:cubicBezTo>
                      <a:pt x="553685" y="338138"/>
                      <a:pt x="390228" y="398757"/>
                      <a:pt x="262460" y="508585"/>
                    </a:cubicBezTo>
                    <a:cubicBezTo>
                      <a:pt x="262460" y="508585"/>
                      <a:pt x="262460" y="508585"/>
                      <a:pt x="241046" y="527128"/>
                    </a:cubicBezTo>
                    <a:cubicBezTo>
                      <a:pt x="241046" y="527128"/>
                      <a:pt x="241046" y="527128"/>
                      <a:pt x="318849" y="618413"/>
                    </a:cubicBezTo>
                    <a:cubicBezTo>
                      <a:pt x="318849" y="618413"/>
                      <a:pt x="318849" y="618413"/>
                      <a:pt x="340976" y="599871"/>
                    </a:cubicBezTo>
                    <a:cubicBezTo>
                      <a:pt x="446617" y="508585"/>
                      <a:pt x="582237" y="457950"/>
                      <a:pt x="722139" y="457950"/>
                    </a:cubicBezTo>
                    <a:cubicBezTo>
                      <a:pt x="862755" y="457950"/>
                      <a:pt x="998375" y="508585"/>
                      <a:pt x="1104729" y="600584"/>
                    </a:cubicBezTo>
                    <a:cubicBezTo>
                      <a:pt x="1104729" y="600584"/>
                      <a:pt x="1104729" y="600584"/>
                      <a:pt x="1126143" y="619126"/>
                    </a:cubicBezTo>
                    <a:lnTo>
                      <a:pt x="1204659" y="527841"/>
                    </a:lnTo>
                    <a:cubicBezTo>
                      <a:pt x="1204659" y="527841"/>
                      <a:pt x="1204659" y="527841"/>
                      <a:pt x="1183246" y="509298"/>
                    </a:cubicBezTo>
                    <a:cubicBezTo>
                      <a:pt x="1055478" y="399471"/>
                      <a:pt x="891307" y="338138"/>
                      <a:pt x="722139" y="338138"/>
                    </a:cubicBezTo>
                    <a:close/>
                    <a:moveTo>
                      <a:pt x="722932" y="306388"/>
                    </a:moveTo>
                    <a:cubicBezTo>
                      <a:pt x="900124" y="306388"/>
                      <a:pt x="1070886" y="370010"/>
                      <a:pt x="1205209" y="485817"/>
                    </a:cubicBezTo>
                    <a:lnTo>
                      <a:pt x="1238075" y="515127"/>
                    </a:lnTo>
                    <a:cubicBezTo>
                      <a:pt x="1245220" y="520131"/>
                      <a:pt x="1245934" y="530139"/>
                      <a:pt x="1240218" y="537287"/>
                    </a:cubicBezTo>
                    <a:cubicBezTo>
                      <a:pt x="1240218" y="537287"/>
                      <a:pt x="1240218" y="537287"/>
                      <a:pt x="1140905" y="651665"/>
                    </a:cubicBezTo>
                    <a:cubicBezTo>
                      <a:pt x="1135189" y="658098"/>
                      <a:pt x="1125186" y="658813"/>
                      <a:pt x="1118756" y="653094"/>
                    </a:cubicBezTo>
                    <a:cubicBezTo>
                      <a:pt x="1118756" y="653094"/>
                      <a:pt x="1118756" y="653094"/>
                      <a:pt x="1085175" y="624500"/>
                    </a:cubicBezTo>
                    <a:cubicBezTo>
                      <a:pt x="985148" y="537287"/>
                      <a:pt x="855826" y="489392"/>
                      <a:pt x="722932" y="489392"/>
                    </a:cubicBezTo>
                    <a:cubicBezTo>
                      <a:pt x="590753" y="489392"/>
                      <a:pt x="462146" y="537287"/>
                      <a:pt x="361404" y="623785"/>
                    </a:cubicBezTo>
                    <a:cubicBezTo>
                      <a:pt x="361404" y="623785"/>
                      <a:pt x="361404" y="623785"/>
                      <a:pt x="327823" y="652379"/>
                    </a:cubicBezTo>
                    <a:cubicBezTo>
                      <a:pt x="321392" y="658098"/>
                      <a:pt x="311390" y="657383"/>
                      <a:pt x="305674" y="650950"/>
                    </a:cubicBezTo>
                    <a:cubicBezTo>
                      <a:pt x="305674" y="650950"/>
                      <a:pt x="305674" y="650950"/>
                      <a:pt x="207075" y="535858"/>
                    </a:cubicBezTo>
                    <a:cubicBezTo>
                      <a:pt x="201359" y="529424"/>
                      <a:pt x="202074" y="519416"/>
                      <a:pt x="208504" y="513697"/>
                    </a:cubicBezTo>
                    <a:cubicBezTo>
                      <a:pt x="208504" y="513697"/>
                      <a:pt x="208504" y="513697"/>
                      <a:pt x="242085" y="485103"/>
                    </a:cubicBezTo>
                    <a:cubicBezTo>
                      <a:pt x="375693" y="370010"/>
                      <a:pt x="546455" y="306388"/>
                      <a:pt x="722932" y="306388"/>
                    </a:cubicBezTo>
                    <a:close/>
                    <a:moveTo>
                      <a:pt x="721859" y="31750"/>
                    </a:moveTo>
                    <a:cubicBezTo>
                      <a:pt x="479560" y="31750"/>
                      <a:pt x="245123" y="118228"/>
                      <a:pt x="61433" y="276175"/>
                    </a:cubicBezTo>
                    <a:cubicBezTo>
                      <a:pt x="61433" y="276175"/>
                      <a:pt x="61433" y="276175"/>
                      <a:pt x="37846" y="296901"/>
                    </a:cubicBezTo>
                    <a:cubicBezTo>
                      <a:pt x="37846" y="296901"/>
                      <a:pt x="37846" y="296901"/>
                      <a:pt x="115754" y="387666"/>
                    </a:cubicBezTo>
                    <a:cubicBezTo>
                      <a:pt x="115754" y="387666"/>
                      <a:pt x="115754" y="387666"/>
                      <a:pt x="140055" y="367655"/>
                    </a:cubicBezTo>
                    <a:cubicBezTo>
                      <a:pt x="301588" y="228290"/>
                      <a:pt x="508150" y="151818"/>
                      <a:pt x="721859" y="151818"/>
                    </a:cubicBezTo>
                    <a:cubicBezTo>
                      <a:pt x="936998" y="151818"/>
                      <a:pt x="1144990" y="229005"/>
                      <a:pt x="1307237" y="369799"/>
                    </a:cubicBezTo>
                    <a:cubicBezTo>
                      <a:pt x="1307237" y="369799"/>
                      <a:pt x="1307237" y="369799"/>
                      <a:pt x="1330824" y="390525"/>
                    </a:cubicBezTo>
                    <a:lnTo>
                      <a:pt x="1409446" y="299759"/>
                    </a:lnTo>
                    <a:cubicBezTo>
                      <a:pt x="1409446" y="299759"/>
                      <a:pt x="1409446" y="299759"/>
                      <a:pt x="1385860" y="279033"/>
                    </a:cubicBezTo>
                    <a:cubicBezTo>
                      <a:pt x="1201455" y="119657"/>
                      <a:pt x="966303" y="31750"/>
                      <a:pt x="721859" y="31750"/>
                    </a:cubicBezTo>
                    <a:close/>
                    <a:moveTo>
                      <a:pt x="721861" y="0"/>
                    </a:moveTo>
                    <a:cubicBezTo>
                      <a:pt x="973334" y="0"/>
                      <a:pt x="1216235" y="90910"/>
                      <a:pt x="1406269" y="255551"/>
                    </a:cubicBezTo>
                    <a:cubicBezTo>
                      <a:pt x="1406269" y="255551"/>
                      <a:pt x="1406269" y="255551"/>
                      <a:pt x="1441990" y="286332"/>
                    </a:cubicBezTo>
                    <a:cubicBezTo>
                      <a:pt x="1448420" y="292058"/>
                      <a:pt x="1449134" y="302080"/>
                      <a:pt x="1443419" y="308522"/>
                    </a:cubicBezTo>
                    <a:cubicBezTo>
                      <a:pt x="1443419" y="308522"/>
                      <a:pt x="1443419" y="308522"/>
                      <a:pt x="1344115" y="423055"/>
                    </a:cubicBezTo>
                    <a:cubicBezTo>
                      <a:pt x="1338400" y="429497"/>
                      <a:pt x="1328398" y="430213"/>
                      <a:pt x="1321968" y="424487"/>
                    </a:cubicBezTo>
                    <a:cubicBezTo>
                      <a:pt x="1321968" y="424487"/>
                      <a:pt x="1321968" y="424487"/>
                      <a:pt x="1286248" y="393706"/>
                    </a:cubicBezTo>
                    <a:cubicBezTo>
                      <a:pt x="1129791" y="257698"/>
                      <a:pt x="929755" y="183252"/>
                      <a:pt x="721861" y="183252"/>
                    </a:cubicBezTo>
                    <a:cubicBezTo>
                      <a:pt x="516109" y="183252"/>
                      <a:pt x="316788" y="256983"/>
                      <a:pt x="160331" y="391558"/>
                    </a:cubicBezTo>
                    <a:cubicBezTo>
                      <a:pt x="160331" y="391558"/>
                      <a:pt x="160331" y="391558"/>
                      <a:pt x="124611" y="422339"/>
                    </a:cubicBezTo>
                    <a:cubicBezTo>
                      <a:pt x="118181" y="428066"/>
                      <a:pt x="108179" y="427350"/>
                      <a:pt x="102464" y="420907"/>
                    </a:cubicBezTo>
                    <a:cubicBezTo>
                      <a:pt x="102464" y="420907"/>
                      <a:pt x="102464" y="420907"/>
                      <a:pt x="3875" y="305659"/>
                    </a:cubicBezTo>
                    <a:cubicBezTo>
                      <a:pt x="-1841" y="299217"/>
                      <a:pt x="-1126" y="289195"/>
                      <a:pt x="5303" y="283468"/>
                    </a:cubicBezTo>
                    <a:cubicBezTo>
                      <a:pt x="5303" y="283468"/>
                      <a:pt x="5303" y="283468"/>
                      <a:pt x="41024" y="252688"/>
                    </a:cubicBezTo>
                    <a:cubicBezTo>
                      <a:pt x="230344" y="89479"/>
                      <a:pt x="472530" y="0"/>
                      <a:pt x="721861"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88" name="Freeform 23">
                <a:extLst>
                  <a:ext uri="{FF2B5EF4-FFF2-40B4-BE49-F238E27FC236}">
                    <a16:creationId xmlns:a16="http://schemas.microsoft.com/office/drawing/2014/main" id="{31AC041F-798B-4576-AC6A-03292F4C7955}"/>
                  </a:ext>
                </a:extLst>
              </p:cNvPr>
              <p:cNvSpPr>
                <a:spLocks/>
              </p:cNvSpPr>
              <p:nvPr/>
            </p:nvSpPr>
            <p:spPr bwMode="auto">
              <a:xfrm>
                <a:off x="5461320" y="2892425"/>
                <a:ext cx="1270591" cy="739644"/>
              </a:xfrm>
              <a:custGeom>
                <a:avLst/>
                <a:gdLst>
                  <a:gd name="connsiteX0" fmla="*/ 633173 w 1270591"/>
                  <a:gd name="connsiteY0" fmla="*/ 612775 h 739644"/>
                  <a:gd name="connsiteX1" fmla="*/ 861773 w 1270591"/>
                  <a:gd name="connsiteY1" fmla="*/ 692071 h 739644"/>
                  <a:gd name="connsiteX2" fmla="*/ 863202 w 1270591"/>
                  <a:gd name="connsiteY2" fmla="*/ 714931 h 739644"/>
                  <a:gd name="connsiteX3" fmla="*/ 846771 w 1270591"/>
                  <a:gd name="connsiteY3" fmla="*/ 734219 h 739644"/>
                  <a:gd name="connsiteX4" fmla="*/ 824626 w 1270591"/>
                  <a:gd name="connsiteY4" fmla="*/ 736362 h 739644"/>
                  <a:gd name="connsiteX5" fmla="*/ 633173 w 1270591"/>
                  <a:gd name="connsiteY5" fmla="*/ 669925 h 739644"/>
                  <a:gd name="connsiteX6" fmla="*/ 442435 w 1270591"/>
                  <a:gd name="connsiteY6" fmla="*/ 735648 h 739644"/>
                  <a:gd name="connsiteX7" fmla="*/ 421003 w 1270591"/>
                  <a:gd name="connsiteY7" fmla="*/ 733505 h 739644"/>
                  <a:gd name="connsiteX8" fmla="*/ 403858 w 1270591"/>
                  <a:gd name="connsiteY8" fmla="*/ 713502 h 739644"/>
                  <a:gd name="connsiteX9" fmla="*/ 406001 w 1270591"/>
                  <a:gd name="connsiteY9" fmla="*/ 691357 h 739644"/>
                  <a:gd name="connsiteX10" fmla="*/ 633173 w 1270591"/>
                  <a:gd name="connsiteY10" fmla="*/ 612775 h 739644"/>
                  <a:gd name="connsiteX11" fmla="*/ 633173 w 1270591"/>
                  <a:gd name="connsiteY11" fmla="*/ 306388 h 739644"/>
                  <a:gd name="connsiteX12" fmla="*/ 1061798 w 1270591"/>
                  <a:gd name="connsiteY12" fmla="*/ 459017 h 739644"/>
                  <a:gd name="connsiteX13" fmla="*/ 1063227 w 1270591"/>
                  <a:gd name="connsiteY13" fmla="*/ 481734 h 739644"/>
                  <a:gd name="connsiteX14" fmla="*/ 1046796 w 1270591"/>
                  <a:gd name="connsiteY14" fmla="*/ 500902 h 739644"/>
                  <a:gd name="connsiteX15" fmla="*/ 1024651 w 1270591"/>
                  <a:gd name="connsiteY15" fmla="*/ 502322 h 739644"/>
                  <a:gd name="connsiteX16" fmla="*/ 633173 w 1270591"/>
                  <a:gd name="connsiteY16" fmla="*/ 363180 h 739644"/>
                  <a:gd name="connsiteX17" fmla="*/ 242409 w 1270591"/>
                  <a:gd name="connsiteY17" fmla="*/ 501612 h 739644"/>
                  <a:gd name="connsiteX18" fmla="*/ 220978 w 1270591"/>
                  <a:gd name="connsiteY18" fmla="*/ 500192 h 739644"/>
                  <a:gd name="connsiteX19" fmla="*/ 203833 w 1270591"/>
                  <a:gd name="connsiteY19" fmla="*/ 480315 h 739644"/>
                  <a:gd name="connsiteX20" fmla="*/ 205976 w 1270591"/>
                  <a:gd name="connsiteY20" fmla="*/ 458308 h 739644"/>
                  <a:gd name="connsiteX21" fmla="*/ 633173 w 1270591"/>
                  <a:gd name="connsiteY21" fmla="*/ 306388 h 739644"/>
                  <a:gd name="connsiteX22" fmla="*/ 633687 w 1270591"/>
                  <a:gd name="connsiteY22" fmla="*/ 0 h 739644"/>
                  <a:gd name="connsiteX23" fmla="*/ 1264992 w 1270591"/>
                  <a:gd name="connsiteY23" fmla="*/ 229249 h 739644"/>
                  <a:gd name="connsiteX24" fmla="*/ 1266422 w 1270591"/>
                  <a:gd name="connsiteY24" fmla="*/ 251388 h 739644"/>
                  <a:gd name="connsiteX25" fmla="*/ 1249978 w 1270591"/>
                  <a:gd name="connsiteY25" fmla="*/ 270671 h 739644"/>
                  <a:gd name="connsiteX26" fmla="*/ 1227814 w 1270591"/>
                  <a:gd name="connsiteY26" fmla="*/ 272814 h 739644"/>
                  <a:gd name="connsiteX27" fmla="*/ 633687 w 1270591"/>
                  <a:gd name="connsiteY27" fmla="*/ 57134 h 739644"/>
                  <a:gd name="connsiteX28" fmla="*/ 42420 w 1270591"/>
                  <a:gd name="connsiteY28" fmla="*/ 269957 h 739644"/>
                  <a:gd name="connsiteX29" fmla="*/ 20971 w 1270591"/>
                  <a:gd name="connsiteY29" fmla="*/ 268529 h 739644"/>
                  <a:gd name="connsiteX30" fmla="*/ 3812 w 1270591"/>
                  <a:gd name="connsiteY30" fmla="*/ 248532 h 739644"/>
                  <a:gd name="connsiteX31" fmla="*/ 5957 w 1270591"/>
                  <a:gd name="connsiteY31" fmla="*/ 226392 h 739644"/>
                  <a:gd name="connsiteX32" fmla="*/ 633687 w 1270591"/>
                  <a:gd name="connsiteY32" fmla="*/ 0 h 73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0591" h="739644">
                    <a:moveTo>
                      <a:pt x="633173" y="612775"/>
                    </a:moveTo>
                    <a:cubicBezTo>
                      <a:pt x="716040" y="612775"/>
                      <a:pt x="796765" y="640636"/>
                      <a:pt x="861773" y="692071"/>
                    </a:cubicBezTo>
                    <a:cubicBezTo>
                      <a:pt x="868202" y="697786"/>
                      <a:pt x="869631" y="707787"/>
                      <a:pt x="863202" y="714931"/>
                    </a:cubicBezTo>
                    <a:cubicBezTo>
                      <a:pt x="863202" y="714931"/>
                      <a:pt x="863202" y="714931"/>
                      <a:pt x="846771" y="734219"/>
                    </a:cubicBezTo>
                    <a:cubicBezTo>
                      <a:pt x="841056" y="740649"/>
                      <a:pt x="831769" y="741363"/>
                      <a:pt x="824626" y="736362"/>
                    </a:cubicBezTo>
                    <a:cubicBezTo>
                      <a:pt x="770333" y="693500"/>
                      <a:pt x="703182" y="669925"/>
                      <a:pt x="633173" y="669925"/>
                    </a:cubicBezTo>
                    <a:cubicBezTo>
                      <a:pt x="563878" y="669925"/>
                      <a:pt x="496727" y="692785"/>
                      <a:pt x="442435" y="735648"/>
                    </a:cubicBezTo>
                    <a:cubicBezTo>
                      <a:pt x="436005" y="740649"/>
                      <a:pt x="426718" y="739934"/>
                      <a:pt x="421003" y="733505"/>
                    </a:cubicBezTo>
                    <a:cubicBezTo>
                      <a:pt x="421003" y="733505"/>
                      <a:pt x="421003" y="733505"/>
                      <a:pt x="403858" y="713502"/>
                    </a:cubicBezTo>
                    <a:cubicBezTo>
                      <a:pt x="398143" y="707073"/>
                      <a:pt x="399572" y="697072"/>
                      <a:pt x="406001" y="691357"/>
                    </a:cubicBezTo>
                    <a:cubicBezTo>
                      <a:pt x="471010" y="640636"/>
                      <a:pt x="551020" y="612775"/>
                      <a:pt x="633173" y="612775"/>
                    </a:cubicBezTo>
                    <a:close/>
                    <a:moveTo>
                      <a:pt x="633173" y="306388"/>
                    </a:moveTo>
                    <a:cubicBezTo>
                      <a:pt x="789621" y="306388"/>
                      <a:pt x="941069" y="360341"/>
                      <a:pt x="1061798" y="459017"/>
                    </a:cubicBezTo>
                    <a:cubicBezTo>
                      <a:pt x="1068227" y="464697"/>
                      <a:pt x="1069656" y="474635"/>
                      <a:pt x="1063227" y="481734"/>
                    </a:cubicBezTo>
                    <a:cubicBezTo>
                      <a:pt x="1063227" y="481734"/>
                      <a:pt x="1063227" y="481734"/>
                      <a:pt x="1046796" y="500902"/>
                    </a:cubicBezTo>
                    <a:cubicBezTo>
                      <a:pt x="1041081" y="507291"/>
                      <a:pt x="1031794" y="508001"/>
                      <a:pt x="1024651" y="502322"/>
                    </a:cubicBezTo>
                    <a:cubicBezTo>
                      <a:pt x="914637" y="412874"/>
                      <a:pt x="776048" y="363180"/>
                      <a:pt x="633173" y="363180"/>
                    </a:cubicBezTo>
                    <a:cubicBezTo>
                      <a:pt x="491012" y="363180"/>
                      <a:pt x="352423" y="412164"/>
                      <a:pt x="242409" y="501612"/>
                    </a:cubicBezTo>
                    <a:cubicBezTo>
                      <a:pt x="235980" y="507291"/>
                      <a:pt x="226693" y="506581"/>
                      <a:pt x="220978" y="500192"/>
                    </a:cubicBezTo>
                    <a:cubicBezTo>
                      <a:pt x="220978" y="500192"/>
                      <a:pt x="220978" y="500192"/>
                      <a:pt x="203833" y="480315"/>
                    </a:cubicBezTo>
                    <a:cubicBezTo>
                      <a:pt x="198118" y="473925"/>
                      <a:pt x="198832" y="463987"/>
                      <a:pt x="205976" y="458308"/>
                    </a:cubicBezTo>
                    <a:cubicBezTo>
                      <a:pt x="325991" y="360341"/>
                      <a:pt x="477439" y="306388"/>
                      <a:pt x="633173" y="306388"/>
                    </a:cubicBezTo>
                    <a:close/>
                    <a:moveTo>
                      <a:pt x="633687" y="0"/>
                    </a:moveTo>
                    <a:cubicBezTo>
                      <a:pt x="864617" y="0"/>
                      <a:pt x="1088398" y="81416"/>
                      <a:pt x="1264992" y="229249"/>
                    </a:cubicBezTo>
                    <a:cubicBezTo>
                      <a:pt x="1271426" y="234963"/>
                      <a:pt x="1272856" y="244961"/>
                      <a:pt x="1266422" y="251388"/>
                    </a:cubicBezTo>
                    <a:cubicBezTo>
                      <a:pt x="1266422" y="251388"/>
                      <a:pt x="1266422" y="251388"/>
                      <a:pt x="1249978" y="270671"/>
                    </a:cubicBezTo>
                    <a:cubicBezTo>
                      <a:pt x="1244258" y="277099"/>
                      <a:pt x="1234249" y="277813"/>
                      <a:pt x="1227814" y="272814"/>
                    </a:cubicBezTo>
                    <a:cubicBezTo>
                      <a:pt x="1061945" y="133550"/>
                      <a:pt x="851748" y="57134"/>
                      <a:pt x="633687" y="57134"/>
                    </a:cubicBezTo>
                    <a:cubicBezTo>
                      <a:pt x="417771" y="57134"/>
                      <a:pt x="208289" y="132836"/>
                      <a:pt x="42420" y="269957"/>
                    </a:cubicBezTo>
                    <a:cubicBezTo>
                      <a:pt x="35985" y="275670"/>
                      <a:pt x="25976" y="274956"/>
                      <a:pt x="20971" y="268529"/>
                    </a:cubicBezTo>
                    <a:cubicBezTo>
                      <a:pt x="20971" y="268529"/>
                      <a:pt x="20971" y="268529"/>
                      <a:pt x="3812" y="248532"/>
                    </a:cubicBezTo>
                    <a:cubicBezTo>
                      <a:pt x="-1907" y="242104"/>
                      <a:pt x="-1192" y="232106"/>
                      <a:pt x="5957" y="226392"/>
                    </a:cubicBezTo>
                    <a:cubicBezTo>
                      <a:pt x="181836" y="79987"/>
                      <a:pt x="404187" y="0"/>
                      <a:pt x="633687"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9" name="bcgIcons_OnlineSurvey">
            <a:extLst>
              <a:ext uri="{FF2B5EF4-FFF2-40B4-BE49-F238E27FC236}">
                <a16:creationId xmlns:a16="http://schemas.microsoft.com/office/drawing/2014/main" id="{5EC49C05-78AB-4D05-88EA-CB82D23B7B83}"/>
              </a:ext>
            </a:extLst>
          </p:cNvPr>
          <p:cNvGrpSpPr>
            <a:grpSpLocks noChangeAspect="1"/>
          </p:cNvGrpSpPr>
          <p:nvPr/>
        </p:nvGrpSpPr>
        <p:grpSpPr bwMode="auto">
          <a:xfrm>
            <a:off x="2747799" y="2176247"/>
            <a:ext cx="1034448" cy="1035407"/>
            <a:chOff x="1682" y="0"/>
            <a:chExt cx="4316" cy="4320"/>
          </a:xfrm>
        </p:grpSpPr>
        <p:sp>
          <p:nvSpPr>
            <p:cNvPr id="90" name="AutoShape 8">
              <a:extLst>
                <a:ext uri="{FF2B5EF4-FFF2-40B4-BE49-F238E27FC236}">
                  <a16:creationId xmlns:a16="http://schemas.microsoft.com/office/drawing/2014/main" id="{18EC9C91-2BAB-4EBF-B9D0-B4ACB10D190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0">
              <a:extLst>
                <a:ext uri="{FF2B5EF4-FFF2-40B4-BE49-F238E27FC236}">
                  <a16:creationId xmlns:a16="http://schemas.microsoft.com/office/drawing/2014/main" id="{0E168B18-F3D3-4086-80A3-EF950C6AF9F7}"/>
                </a:ext>
              </a:extLst>
            </p:cNvPr>
            <p:cNvSpPr>
              <a:spLocks noEditPoints="1"/>
            </p:cNvSpPr>
            <p:nvPr/>
          </p:nvSpPr>
          <p:spPr bwMode="auto">
            <a:xfrm>
              <a:off x="2085"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1">
              <a:extLst>
                <a:ext uri="{FF2B5EF4-FFF2-40B4-BE49-F238E27FC236}">
                  <a16:creationId xmlns:a16="http://schemas.microsoft.com/office/drawing/2014/main" id="{62579E2C-5034-45E6-8E4E-74F2B48760B4}"/>
                </a:ext>
              </a:extLst>
            </p:cNvPr>
            <p:cNvSpPr>
              <a:spLocks noEditPoints="1"/>
            </p:cNvSpPr>
            <p:nvPr/>
          </p:nvSpPr>
          <p:spPr bwMode="auto">
            <a:xfrm>
              <a:off x="2261"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327 w 1686"/>
                <a:gd name="T11" fmla="*/ 518 h 1146"/>
                <a:gd name="T12" fmla="*/ 325 w 1686"/>
                <a:gd name="T13" fmla="*/ 518 h 1146"/>
                <a:gd name="T14" fmla="*/ 303 w 1686"/>
                <a:gd name="T15" fmla="*/ 505 h 1146"/>
                <a:gd name="T16" fmla="*/ 254 w 1686"/>
                <a:gd name="T17" fmla="*/ 436 h 1146"/>
                <a:gd name="T18" fmla="*/ 261 w 1686"/>
                <a:gd name="T19" fmla="*/ 394 h 1146"/>
                <a:gd name="T20" fmla="*/ 303 w 1686"/>
                <a:gd name="T21" fmla="*/ 401 h 1146"/>
                <a:gd name="T22" fmla="*/ 330 w 1686"/>
                <a:gd name="T23" fmla="*/ 440 h 1146"/>
                <a:gd name="T24" fmla="*/ 415 w 1686"/>
                <a:gd name="T25" fmla="*/ 347 h 1146"/>
                <a:gd name="T26" fmla="*/ 215 w 1686"/>
                <a:gd name="T27" fmla="*/ 347 h 1146"/>
                <a:gd name="T28" fmla="*/ 215 w 1686"/>
                <a:gd name="T29" fmla="*/ 574 h 1146"/>
                <a:gd name="T30" fmla="*/ 441 w 1686"/>
                <a:gd name="T31" fmla="*/ 574 h 1146"/>
                <a:gd name="T32" fmla="*/ 441 w 1686"/>
                <a:gd name="T33" fmla="*/ 407 h 1146"/>
                <a:gd name="T34" fmla="*/ 350 w 1686"/>
                <a:gd name="T35" fmla="*/ 508 h 1146"/>
                <a:gd name="T36" fmla="*/ 327 w 1686"/>
                <a:gd name="T37" fmla="*/ 518 h 1146"/>
                <a:gd name="T38" fmla="*/ 1686 w 1686"/>
                <a:gd name="T39" fmla="*/ 10 h 1146"/>
                <a:gd name="T40" fmla="*/ 1686 w 1686"/>
                <a:gd name="T41" fmla="*/ 926 h 1146"/>
                <a:gd name="T42" fmla="*/ 1676 w 1686"/>
                <a:gd name="T43" fmla="*/ 936 h 1146"/>
                <a:gd name="T44" fmla="*/ 10 w 1686"/>
                <a:gd name="T45" fmla="*/ 936 h 1146"/>
                <a:gd name="T46" fmla="*/ 0 w 1686"/>
                <a:gd name="T47" fmla="*/ 926 h 1146"/>
                <a:gd name="T48" fmla="*/ 0 w 1686"/>
                <a:gd name="T49" fmla="*/ 10 h 1146"/>
                <a:gd name="T50" fmla="*/ 10 w 1686"/>
                <a:gd name="T51" fmla="*/ 0 h 1146"/>
                <a:gd name="T52" fmla="*/ 1676 w 1686"/>
                <a:gd name="T53" fmla="*/ 0 h 1146"/>
                <a:gd name="T54" fmla="*/ 1686 w 1686"/>
                <a:gd name="T55" fmla="*/ 10 h 1146"/>
                <a:gd name="T56" fmla="*/ 555 w 1686"/>
                <a:gd name="T57" fmla="*/ 238 h 1146"/>
                <a:gd name="T58" fmla="*/ 512 w 1686"/>
                <a:gd name="T59" fmla="*/ 240 h 1146"/>
                <a:gd name="T60" fmla="*/ 469 w 1686"/>
                <a:gd name="T61" fmla="*/ 287 h 1146"/>
                <a:gd name="T62" fmla="*/ 185 w 1686"/>
                <a:gd name="T63" fmla="*/ 287 h 1146"/>
                <a:gd name="T64" fmla="*/ 155 w 1686"/>
                <a:gd name="T65" fmla="*/ 317 h 1146"/>
                <a:gd name="T66" fmla="*/ 155 w 1686"/>
                <a:gd name="T67" fmla="*/ 604 h 1146"/>
                <a:gd name="T68" fmla="*/ 185 w 1686"/>
                <a:gd name="T69" fmla="*/ 634 h 1146"/>
                <a:gd name="T70" fmla="*/ 471 w 1686"/>
                <a:gd name="T71" fmla="*/ 634 h 1146"/>
                <a:gd name="T72" fmla="*/ 501 w 1686"/>
                <a:gd name="T73" fmla="*/ 604 h 1146"/>
                <a:gd name="T74" fmla="*/ 501 w 1686"/>
                <a:gd name="T75" fmla="*/ 341 h 1146"/>
                <a:gd name="T76" fmla="*/ 557 w 1686"/>
                <a:gd name="T77" fmla="*/ 280 h 1146"/>
                <a:gd name="T78" fmla="*/ 555 w 1686"/>
                <a:gd name="T79" fmla="*/ 238 h 1146"/>
                <a:gd name="T80" fmla="*/ 1531 w 1686"/>
                <a:gd name="T81" fmla="*/ 562 h 1146"/>
                <a:gd name="T82" fmla="*/ 1501 w 1686"/>
                <a:gd name="T83" fmla="*/ 532 h 1146"/>
                <a:gd name="T84" fmla="*/ 691 w 1686"/>
                <a:gd name="T85" fmla="*/ 532 h 1146"/>
                <a:gd name="T86" fmla="*/ 661 w 1686"/>
                <a:gd name="T87" fmla="*/ 562 h 1146"/>
                <a:gd name="T88" fmla="*/ 691 w 1686"/>
                <a:gd name="T89" fmla="*/ 592 h 1146"/>
                <a:gd name="T90" fmla="*/ 1501 w 1686"/>
                <a:gd name="T91" fmla="*/ 592 h 1146"/>
                <a:gd name="T92" fmla="*/ 1531 w 1686"/>
                <a:gd name="T93" fmla="*/ 562 h 1146"/>
                <a:gd name="T94" fmla="*/ 1531 w 1686"/>
                <a:gd name="T95" fmla="*/ 358 h 1146"/>
                <a:gd name="T96" fmla="*/ 1501 w 1686"/>
                <a:gd name="T97" fmla="*/ 328 h 1146"/>
                <a:gd name="T98" fmla="*/ 691 w 1686"/>
                <a:gd name="T99" fmla="*/ 328 h 1146"/>
                <a:gd name="T100" fmla="*/ 661 w 1686"/>
                <a:gd name="T101" fmla="*/ 358 h 1146"/>
                <a:gd name="T102" fmla="*/ 691 w 1686"/>
                <a:gd name="T103" fmla="*/ 388 h 1146"/>
                <a:gd name="T104" fmla="*/ 1501 w 1686"/>
                <a:gd name="T105" fmla="*/ 388 h 1146"/>
                <a:gd name="T106" fmla="*/ 1531 w 1686"/>
                <a:gd name="T107" fmla="*/ 358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327" y="518"/>
                  </a:moveTo>
                  <a:cubicBezTo>
                    <a:pt x="327" y="518"/>
                    <a:pt x="326" y="518"/>
                    <a:pt x="325" y="518"/>
                  </a:cubicBezTo>
                  <a:cubicBezTo>
                    <a:pt x="316" y="517"/>
                    <a:pt x="308" y="513"/>
                    <a:pt x="303" y="505"/>
                  </a:cubicBezTo>
                  <a:cubicBezTo>
                    <a:pt x="254" y="436"/>
                    <a:pt x="254" y="436"/>
                    <a:pt x="254" y="436"/>
                  </a:cubicBezTo>
                  <a:cubicBezTo>
                    <a:pt x="245" y="422"/>
                    <a:pt x="248" y="404"/>
                    <a:pt x="261" y="394"/>
                  </a:cubicBezTo>
                  <a:cubicBezTo>
                    <a:pt x="275" y="385"/>
                    <a:pt x="294" y="388"/>
                    <a:pt x="303" y="401"/>
                  </a:cubicBezTo>
                  <a:cubicBezTo>
                    <a:pt x="330" y="440"/>
                    <a:pt x="330" y="440"/>
                    <a:pt x="330" y="440"/>
                  </a:cubicBezTo>
                  <a:cubicBezTo>
                    <a:pt x="415" y="347"/>
                    <a:pt x="415" y="347"/>
                    <a:pt x="415" y="347"/>
                  </a:cubicBezTo>
                  <a:cubicBezTo>
                    <a:pt x="215" y="347"/>
                    <a:pt x="215" y="347"/>
                    <a:pt x="215" y="347"/>
                  </a:cubicBezTo>
                  <a:cubicBezTo>
                    <a:pt x="215" y="574"/>
                    <a:pt x="215" y="574"/>
                    <a:pt x="215" y="574"/>
                  </a:cubicBezTo>
                  <a:cubicBezTo>
                    <a:pt x="441" y="574"/>
                    <a:pt x="441" y="574"/>
                    <a:pt x="441" y="574"/>
                  </a:cubicBezTo>
                  <a:cubicBezTo>
                    <a:pt x="441" y="407"/>
                    <a:pt x="441" y="407"/>
                    <a:pt x="441" y="407"/>
                  </a:cubicBezTo>
                  <a:cubicBezTo>
                    <a:pt x="350" y="508"/>
                    <a:pt x="350" y="508"/>
                    <a:pt x="350" y="508"/>
                  </a:cubicBezTo>
                  <a:cubicBezTo>
                    <a:pt x="344" y="514"/>
                    <a:pt x="336" y="518"/>
                    <a:pt x="327" y="518"/>
                  </a:cubicBezTo>
                  <a:close/>
                  <a:moveTo>
                    <a:pt x="1686" y="10"/>
                  </a:moveTo>
                  <a:cubicBezTo>
                    <a:pt x="1686" y="926"/>
                    <a:pt x="1686" y="926"/>
                    <a:pt x="1686" y="926"/>
                  </a:cubicBezTo>
                  <a:cubicBezTo>
                    <a:pt x="1686" y="932"/>
                    <a:pt x="1681" y="936"/>
                    <a:pt x="1676" y="936"/>
                  </a:cubicBezTo>
                  <a:cubicBezTo>
                    <a:pt x="10" y="936"/>
                    <a:pt x="10" y="936"/>
                    <a:pt x="10" y="936"/>
                  </a:cubicBezTo>
                  <a:cubicBezTo>
                    <a:pt x="5" y="936"/>
                    <a:pt x="0" y="932"/>
                    <a:pt x="0" y="926"/>
                  </a:cubicBezTo>
                  <a:cubicBezTo>
                    <a:pt x="0" y="10"/>
                    <a:pt x="0" y="10"/>
                    <a:pt x="0" y="10"/>
                  </a:cubicBezTo>
                  <a:cubicBezTo>
                    <a:pt x="0" y="4"/>
                    <a:pt x="5" y="0"/>
                    <a:pt x="10" y="0"/>
                  </a:cubicBezTo>
                  <a:cubicBezTo>
                    <a:pt x="1676" y="0"/>
                    <a:pt x="1676" y="0"/>
                    <a:pt x="1676" y="0"/>
                  </a:cubicBezTo>
                  <a:cubicBezTo>
                    <a:pt x="1681" y="0"/>
                    <a:pt x="1686" y="4"/>
                    <a:pt x="1686" y="10"/>
                  </a:cubicBezTo>
                  <a:close/>
                  <a:moveTo>
                    <a:pt x="555" y="238"/>
                  </a:moveTo>
                  <a:cubicBezTo>
                    <a:pt x="543" y="227"/>
                    <a:pt x="524" y="228"/>
                    <a:pt x="512" y="240"/>
                  </a:cubicBezTo>
                  <a:cubicBezTo>
                    <a:pt x="469" y="287"/>
                    <a:pt x="469" y="287"/>
                    <a:pt x="469" y="287"/>
                  </a:cubicBezTo>
                  <a:cubicBezTo>
                    <a:pt x="185" y="287"/>
                    <a:pt x="185" y="287"/>
                    <a:pt x="185" y="287"/>
                  </a:cubicBezTo>
                  <a:cubicBezTo>
                    <a:pt x="168" y="287"/>
                    <a:pt x="155" y="301"/>
                    <a:pt x="155" y="317"/>
                  </a:cubicBezTo>
                  <a:cubicBezTo>
                    <a:pt x="155" y="604"/>
                    <a:pt x="155" y="604"/>
                    <a:pt x="155" y="604"/>
                  </a:cubicBezTo>
                  <a:cubicBezTo>
                    <a:pt x="155" y="620"/>
                    <a:pt x="168" y="634"/>
                    <a:pt x="185" y="634"/>
                  </a:cubicBezTo>
                  <a:cubicBezTo>
                    <a:pt x="471" y="634"/>
                    <a:pt x="471" y="634"/>
                    <a:pt x="471" y="634"/>
                  </a:cubicBezTo>
                  <a:cubicBezTo>
                    <a:pt x="488" y="634"/>
                    <a:pt x="501" y="620"/>
                    <a:pt x="501" y="604"/>
                  </a:cubicBezTo>
                  <a:cubicBezTo>
                    <a:pt x="501" y="341"/>
                    <a:pt x="501" y="341"/>
                    <a:pt x="501" y="341"/>
                  </a:cubicBezTo>
                  <a:cubicBezTo>
                    <a:pt x="557" y="280"/>
                    <a:pt x="557" y="280"/>
                    <a:pt x="557" y="280"/>
                  </a:cubicBezTo>
                  <a:cubicBezTo>
                    <a:pt x="568" y="268"/>
                    <a:pt x="567" y="249"/>
                    <a:pt x="555" y="238"/>
                  </a:cubicBezTo>
                  <a:close/>
                  <a:moveTo>
                    <a:pt x="1531" y="562"/>
                  </a:moveTo>
                  <a:cubicBezTo>
                    <a:pt x="1531" y="545"/>
                    <a:pt x="1518" y="532"/>
                    <a:pt x="1501" y="532"/>
                  </a:cubicBezTo>
                  <a:cubicBezTo>
                    <a:pt x="691" y="532"/>
                    <a:pt x="691" y="532"/>
                    <a:pt x="691" y="532"/>
                  </a:cubicBezTo>
                  <a:cubicBezTo>
                    <a:pt x="674" y="532"/>
                    <a:pt x="661" y="545"/>
                    <a:pt x="661" y="562"/>
                  </a:cubicBezTo>
                  <a:cubicBezTo>
                    <a:pt x="661" y="579"/>
                    <a:pt x="674" y="592"/>
                    <a:pt x="691" y="592"/>
                  </a:cubicBezTo>
                  <a:cubicBezTo>
                    <a:pt x="1501" y="592"/>
                    <a:pt x="1501" y="592"/>
                    <a:pt x="1501" y="592"/>
                  </a:cubicBezTo>
                  <a:cubicBezTo>
                    <a:pt x="1518" y="592"/>
                    <a:pt x="1531" y="579"/>
                    <a:pt x="1531" y="562"/>
                  </a:cubicBezTo>
                  <a:close/>
                  <a:moveTo>
                    <a:pt x="1531" y="358"/>
                  </a:moveTo>
                  <a:cubicBezTo>
                    <a:pt x="1531" y="341"/>
                    <a:pt x="1518" y="328"/>
                    <a:pt x="1501" y="328"/>
                  </a:cubicBezTo>
                  <a:cubicBezTo>
                    <a:pt x="691" y="328"/>
                    <a:pt x="691" y="328"/>
                    <a:pt x="691" y="328"/>
                  </a:cubicBezTo>
                  <a:cubicBezTo>
                    <a:pt x="674" y="328"/>
                    <a:pt x="661" y="341"/>
                    <a:pt x="661" y="358"/>
                  </a:cubicBezTo>
                  <a:cubicBezTo>
                    <a:pt x="661" y="375"/>
                    <a:pt x="674" y="388"/>
                    <a:pt x="691" y="388"/>
                  </a:cubicBezTo>
                  <a:cubicBezTo>
                    <a:pt x="1501" y="388"/>
                    <a:pt x="1501" y="388"/>
                    <a:pt x="1501" y="388"/>
                  </a:cubicBezTo>
                  <a:cubicBezTo>
                    <a:pt x="1518" y="388"/>
                    <a:pt x="1531" y="375"/>
                    <a:pt x="1531" y="358"/>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3" name="Group 92">
            <a:extLst>
              <a:ext uri="{FF2B5EF4-FFF2-40B4-BE49-F238E27FC236}">
                <a16:creationId xmlns:a16="http://schemas.microsoft.com/office/drawing/2014/main" id="{D341BA7D-1F16-4480-B560-9D32D779D256}"/>
              </a:ext>
            </a:extLst>
          </p:cNvPr>
          <p:cNvGrpSpPr>
            <a:grpSpLocks noChangeAspect="1"/>
          </p:cNvGrpSpPr>
          <p:nvPr/>
        </p:nvGrpSpPr>
        <p:grpSpPr>
          <a:xfrm>
            <a:off x="4531437" y="2176247"/>
            <a:ext cx="1035407" cy="1035407"/>
            <a:chOff x="5273675" y="2514600"/>
            <a:chExt cx="1646238" cy="1646238"/>
          </a:xfrm>
        </p:grpSpPr>
        <p:sp>
          <p:nvSpPr>
            <p:cNvPr id="94" name="AutoShape 3">
              <a:extLst>
                <a:ext uri="{FF2B5EF4-FFF2-40B4-BE49-F238E27FC236}">
                  <a16:creationId xmlns:a16="http://schemas.microsoft.com/office/drawing/2014/main" id="{970CADA9-3F62-4BED-8A93-05A212DCFF99}"/>
                </a:ext>
              </a:extLst>
            </p:cNvPr>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5" name="Group 94">
              <a:extLst>
                <a:ext uri="{FF2B5EF4-FFF2-40B4-BE49-F238E27FC236}">
                  <a16:creationId xmlns:a16="http://schemas.microsoft.com/office/drawing/2014/main" id="{AA7A23DB-8BD6-47EA-B0C7-5132F64AD355}"/>
                </a:ext>
              </a:extLst>
            </p:cNvPr>
            <p:cNvGrpSpPr/>
            <p:nvPr/>
          </p:nvGrpSpPr>
          <p:grpSpPr>
            <a:xfrm>
              <a:off x="5445125" y="3151188"/>
              <a:ext cx="1303338" cy="369888"/>
              <a:chOff x="5445125" y="3151188"/>
              <a:chExt cx="1303338" cy="369888"/>
            </a:xfrm>
          </p:grpSpPr>
          <p:sp>
            <p:nvSpPr>
              <p:cNvPr id="96" name="Freeform 5">
                <a:extLst>
                  <a:ext uri="{FF2B5EF4-FFF2-40B4-BE49-F238E27FC236}">
                    <a16:creationId xmlns:a16="http://schemas.microsoft.com/office/drawing/2014/main" id="{F2ED28E9-016B-420F-AF70-5F887486D6B0}"/>
                  </a:ext>
                </a:extLst>
              </p:cNvPr>
              <p:cNvSpPr>
                <a:spLocks/>
              </p:cNvSpPr>
              <p:nvPr/>
            </p:nvSpPr>
            <p:spPr bwMode="auto">
              <a:xfrm>
                <a:off x="5445125" y="3151188"/>
                <a:ext cx="1303338" cy="369888"/>
              </a:xfrm>
              <a:custGeom>
                <a:avLst/>
                <a:gdLst>
                  <a:gd name="connsiteX0" fmla="*/ 1077002 w 1303338"/>
                  <a:gd name="connsiteY0" fmla="*/ 80962 h 369888"/>
                  <a:gd name="connsiteX1" fmla="*/ 1042734 w 1303338"/>
                  <a:gd name="connsiteY1" fmla="*/ 92521 h 369888"/>
                  <a:gd name="connsiteX2" fmla="*/ 1021317 w 1303338"/>
                  <a:gd name="connsiteY2" fmla="*/ 130089 h 369888"/>
                  <a:gd name="connsiteX3" fmla="*/ 1032026 w 1303338"/>
                  <a:gd name="connsiteY3" fmla="*/ 171991 h 369888"/>
                  <a:gd name="connsiteX4" fmla="*/ 1110555 w 1303338"/>
                  <a:gd name="connsiteY4" fmla="*/ 182828 h 369888"/>
                  <a:gd name="connsiteX5" fmla="*/ 1121264 w 1303338"/>
                  <a:gd name="connsiteY5" fmla="*/ 103358 h 369888"/>
                  <a:gd name="connsiteX6" fmla="*/ 1077002 w 1303338"/>
                  <a:gd name="connsiteY6" fmla="*/ 80962 h 369888"/>
                  <a:gd name="connsiteX7" fmla="*/ 1089082 w 1303338"/>
                  <a:gd name="connsiteY7" fmla="*/ 58887 h 369888"/>
                  <a:gd name="connsiteX8" fmla="*/ 1141604 w 1303338"/>
                  <a:gd name="connsiteY8" fmla="*/ 89811 h 369888"/>
                  <a:gd name="connsiteX9" fmla="*/ 1157298 w 1303338"/>
                  <a:gd name="connsiteY9" fmla="*/ 149157 h 369888"/>
                  <a:gd name="connsiteX10" fmla="*/ 1134470 w 1303338"/>
                  <a:gd name="connsiteY10" fmla="*/ 195633 h 369888"/>
                  <a:gd name="connsiteX11" fmla="*/ 1156585 w 1303338"/>
                  <a:gd name="connsiteY11" fmla="*/ 223518 h 369888"/>
                  <a:gd name="connsiteX12" fmla="*/ 1161579 w 1303338"/>
                  <a:gd name="connsiteY12" fmla="*/ 219943 h 369888"/>
                  <a:gd name="connsiteX13" fmla="*/ 1165859 w 1303338"/>
                  <a:gd name="connsiteY13" fmla="*/ 218513 h 369888"/>
                  <a:gd name="connsiteX14" fmla="*/ 1170139 w 1303338"/>
                  <a:gd name="connsiteY14" fmla="*/ 220658 h 369888"/>
                  <a:gd name="connsiteX15" fmla="*/ 1215795 w 1303338"/>
                  <a:gd name="connsiteY15" fmla="*/ 282150 h 369888"/>
                  <a:gd name="connsiteX16" fmla="*/ 1206521 w 1303338"/>
                  <a:gd name="connsiteY16" fmla="*/ 307890 h 369888"/>
                  <a:gd name="connsiteX17" fmla="*/ 1192967 w 1303338"/>
                  <a:gd name="connsiteY17" fmla="*/ 314325 h 369888"/>
                  <a:gd name="connsiteX18" fmla="*/ 1189400 w 1303338"/>
                  <a:gd name="connsiteY18" fmla="*/ 314325 h 369888"/>
                  <a:gd name="connsiteX19" fmla="*/ 1179413 w 1303338"/>
                  <a:gd name="connsiteY19" fmla="*/ 310035 h 369888"/>
                  <a:gd name="connsiteX20" fmla="*/ 1133044 w 1303338"/>
                  <a:gd name="connsiteY20" fmla="*/ 248544 h 369888"/>
                  <a:gd name="connsiteX21" fmla="*/ 1134470 w 1303338"/>
                  <a:gd name="connsiteY21" fmla="*/ 240679 h 369888"/>
                  <a:gd name="connsiteX22" fmla="*/ 1139464 w 1303338"/>
                  <a:gd name="connsiteY22" fmla="*/ 236389 h 369888"/>
                  <a:gd name="connsiteX23" fmla="*/ 1117350 w 1303338"/>
                  <a:gd name="connsiteY23" fmla="*/ 207788 h 369888"/>
                  <a:gd name="connsiteX24" fmla="*/ 1078114 w 1303338"/>
                  <a:gd name="connsiteY24" fmla="*/ 218513 h 369888"/>
                  <a:gd name="connsiteX25" fmla="*/ 1066700 w 1303338"/>
                  <a:gd name="connsiteY25" fmla="*/ 217798 h 369888"/>
                  <a:gd name="connsiteX26" fmla="*/ 1013911 w 1303338"/>
                  <a:gd name="connsiteY26" fmla="*/ 186338 h 369888"/>
                  <a:gd name="connsiteX27" fmla="*/ 998217 w 1303338"/>
                  <a:gd name="connsiteY27" fmla="*/ 126992 h 369888"/>
                  <a:gd name="connsiteX28" fmla="*/ 1029605 w 1303338"/>
                  <a:gd name="connsiteY28" fmla="*/ 74081 h 369888"/>
                  <a:gd name="connsiteX29" fmla="*/ 1089082 w 1303338"/>
                  <a:gd name="connsiteY29" fmla="*/ 58887 h 369888"/>
                  <a:gd name="connsiteX30" fmla="*/ 30163 w 1303338"/>
                  <a:gd name="connsiteY30" fmla="*/ 31750 h 369888"/>
                  <a:gd name="connsiteX31" fmla="*/ 30163 w 1303338"/>
                  <a:gd name="connsiteY31" fmla="*/ 338138 h 369888"/>
                  <a:gd name="connsiteX32" fmla="*/ 1273176 w 1303338"/>
                  <a:gd name="connsiteY32" fmla="*/ 338138 h 369888"/>
                  <a:gd name="connsiteX33" fmla="*/ 1273176 w 1303338"/>
                  <a:gd name="connsiteY33" fmla="*/ 31750 h 369888"/>
                  <a:gd name="connsiteX34" fmla="*/ 30163 w 1303338"/>
                  <a:gd name="connsiteY34" fmla="*/ 31750 h 369888"/>
                  <a:gd name="connsiteX35" fmla="*/ 15703 w 1303338"/>
                  <a:gd name="connsiteY35" fmla="*/ 0 h 369888"/>
                  <a:gd name="connsiteX36" fmla="*/ 1287635 w 1303338"/>
                  <a:gd name="connsiteY36" fmla="*/ 0 h 369888"/>
                  <a:gd name="connsiteX37" fmla="*/ 1303338 w 1303338"/>
                  <a:gd name="connsiteY37" fmla="*/ 15710 h 369888"/>
                  <a:gd name="connsiteX38" fmla="*/ 1303338 w 1303338"/>
                  <a:gd name="connsiteY38" fmla="*/ 354179 h 369888"/>
                  <a:gd name="connsiteX39" fmla="*/ 1287635 w 1303338"/>
                  <a:gd name="connsiteY39" fmla="*/ 369888 h 369888"/>
                  <a:gd name="connsiteX40" fmla="*/ 15703 w 1303338"/>
                  <a:gd name="connsiteY40" fmla="*/ 369888 h 369888"/>
                  <a:gd name="connsiteX41" fmla="*/ 0 w 1303338"/>
                  <a:gd name="connsiteY41" fmla="*/ 354179 h 369888"/>
                  <a:gd name="connsiteX42" fmla="*/ 0 w 1303338"/>
                  <a:gd name="connsiteY42" fmla="*/ 15710 h 369888"/>
                  <a:gd name="connsiteX43" fmla="*/ 15703 w 1303338"/>
                  <a:gd name="connsiteY43" fmla="*/ 0 h 36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03338" h="369888">
                    <a:moveTo>
                      <a:pt x="1077002" y="80962"/>
                    </a:moveTo>
                    <a:cubicBezTo>
                      <a:pt x="1064865" y="80962"/>
                      <a:pt x="1052729" y="85297"/>
                      <a:pt x="1042734" y="92521"/>
                    </a:cubicBezTo>
                    <a:cubicBezTo>
                      <a:pt x="1031312" y="101913"/>
                      <a:pt x="1023459" y="114918"/>
                      <a:pt x="1021317" y="130089"/>
                    </a:cubicBezTo>
                    <a:cubicBezTo>
                      <a:pt x="1019175" y="145261"/>
                      <a:pt x="1023459" y="159710"/>
                      <a:pt x="1032026" y="171991"/>
                    </a:cubicBezTo>
                    <a:cubicBezTo>
                      <a:pt x="1050587" y="196555"/>
                      <a:pt x="1086282" y="201612"/>
                      <a:pt x="1110555" y="182828"/>
                    </a:cubicBezTo>
                    <a:cubicBezTo>
                      <a:pt x="1134828" y="164044"/>
                      <a:pt x="1139825" y="128644"/>
                      <a:pt x="1121264" y="103358"/>
                    </a:cubicBezTo>
                    <a:cubicBezTo>
                      <a:pt x="1110555" y="89632"/>
                      <a:pt x="1094135" y="80962"/>
                      <a:pt x="1077002" y="80962"/>
                    </a:cubicBezTo>
                    <a:close/>
                    <a:moveTo>
                      <a:pt x="1089082" y="58887"/>
                    </a:moveTo>
                    <a:cubicBezTo>
                      <a:pt x="1109324" y="61747"/>
                      <a:pt x="1128407" y="72293"/>
                      <a:pt x="1141604" y="89811"/>
                    </a:cubicBezTo>
                    <a:cubicBezTo>
                      <a:pt x="1154445" y="106971"/>
                      <a:pt x="1160152" y="127707"/>
                      <a:pt x="1157298" y="149157"/>
                    </a:cubicBezTo>
                    <a:cubicBezTo>
                      <a:pt x="1154445" y="167032"/>
                      <a:pt x="1146598" y="182763"/>
                      <a:pt x="1134470" y="195633"/>
                    </a:cubicBezTo>
                    <a:cubicBezTo>
                      <a:pt x="1134470" y="195633"/>
                      <a:pt x="1134470" y="195633"/>
                      <a:pt x="1156585" y="223518"/>
                    </a:cubicBezTo>
                    <a:cubicBezTo>
                      <a:pt x="1161579" y="219943"/>
                      <a:pt x="1161579" y="219943"/>
                      <a:pt x="1161579" y="219943"/>
                    </a:cubicBezTo>
                    <a:cubicBezTo>
                      <a:pt x="1163005" y="218513"/>
                      <a:pt x="1164432" y="218513"/>
                      <a:pt x="1165859" y="218513"/>
                    </a:cubicBezTo>
                    <a:cubicBezTo>
                      <a:pt x="1167285" y="218513"/>
                      <a:pt x="1168712" y="219943"/>
                      <a:pt x="1170139" y="220658"/>
                    </a:cubicBezTo>
                    <a:cubicBezTo>
                      <a:pt x="1215795" y="282150"/>
                      <a:pt x="1215795" y="282150"/>
                      <a:pt x="1215795" y="282150"/>
                    </a:cubicBezTo>
                    <a:cubicBezTo>
                      <a:pt x="1220788" y="288585"/>
                      <a:pt x="1217221" y="300025"/>
                      <a:pt x="1206521" y="307890"/>
                    </a:cubicBezTo>
                    <a:cubicBezTo>
                      <a:pt x="1202241" y="311465"/>
                      <a:pt x="1197247" y="313610"/>
                      <a:pt x="1192967" y="314325"/>
                    </a:cubicBezTo>
                    <a:cubicBezTo>
                      <a:pt x="1191540" y="314325"/>
                      <a:pt x="1190827" y="314325"/>
                      <a:pt x="1189400" y="314325"/>
                    </a:cubicBezTo>
                    <a:cubicBezTo>
                      <a:pt x="1185120" y="314325"/>
                      <a:pt x="1181553" y="312895"/>
                      <a:pt x="1179413" y="310035"/>
                    </a:cubicBezTo>
                    <a:cubicBezTo>
                      <a:pt x="1133044" y="248544"/>
                      <a:pt x="1133044" y="248544"/>
                      <a:pt x="1133044" y="248544"/>
                    </a:cubicBezTo>
                    <a:cubicBezTo>
                      <a:pt x="1130904" y="246399"/>
                      <a:pt x="1131617" y="242824"/>
                      <a:pt x="1134470" y="240679"/>
                    </a:cubicBezTo>
                    <a:cubicBezTo>
                      <a:pt x="1139464" y="236389"/>
                      <a:pt x="1139464" y="236389"/>
                      <a:pt x="1139464" y="236389"/>
                    </a:cubicBezTo>
                    <a:cubicBezTo>
                      <a:pt x="1129477" y="223518"/>
                      <a:pt x="1117350" y="207788"/>
                      <a:pt x="1117350" y="207788"/>
                    </a:cubicBezTo>
                    <a:cubicBezTo>
                      <a:pt x="1105222" y="214938"/>
                      <a:pt x="1091668" y="218513"/>
                      <a:pt x="1078114" y="218513"/>
                    </a:cubicBezTo>
                    <a:cubicBezTo>
                      <a:pt x="1074547" y="218513"/>
                      <a:pt x="1070980" y="218513"/>
                      <a:pt x="1066700" y="217798"/>
                    </a:cubicBezTo>
                    <a:cubicBezTo>
                      <a:pt x="1045299" y="214938"/>
                      <a:pt x="1026752" y="203498"/>
                      <a:pt x="1013911" y="186338"/>
                    </a:cubicBezTo>
                    <a:cubicBezTo>
                      <a:pt x="1001070" y="169177"/>
                      <a:pt x="995363" y="148442"/>
                      <a:pt x="998217" y="126992"/>
                    </a:cubicBezTo>
                    <a:cubicBezTo>
                      <a:pt x="1001784" y="106256"/>
                      <a:pt x="1012484" y="86951"/>
                      <a:pt x="1029605" y="74081"/>
                    </a:cubicBezTo>
                    <a:cubicBezTo>
                      <a:pt x="1047440" y="60853"/>
                      <a:pt x="1068841" y="56027"/>
                      <a:pt x="1089082" y="58887"/>
                    </a:cubicBezTo>
                    <a:close/>
                    <a:moveTo>
                      <a:pt x="30163" y="31750"/>
                    </a:moveTo>
                    <a:cubicBezTo>
                      <a:pt x="30163" y="31750"/>
                      <a:pt x="30163" y="31750"/>
                      <a:pt x="30163" y="338138"/>
                    </a:cubicBezTo>
                    <a:cubicBezTo>
                      <a:pt x="30163" y="338138"/>
                      <a:pt x="30163" y="338138"/>
                      <a:pt x="1273176" y="338138"/>
                    </a:cubicBezTo>
                    <a:cubicBezTo>
                      <a:pt x="1273176" y="338138"/>
                      <a:pt x="1273176" y="338138"/>
                      <a:pt x="1273176" y="31750"/>
                    </a:cubicBezTo>
                    <a:cubicBezTo>
                      <a:pt x="1273176" y="31750"/>
                      <a:pt x="1273176" y="31750"/>
                      <a:pt x="30163" y="31750"/>
                    </a:cubicBezTo>
                    <a:close/>
                    <a:moveTo>
                      <a:pt x="15703" y="0"/>
                    </a:moveTo>
                    <a:cubicBezTo>
                      <a:pt x="15703" y="0"/>
                      <a:pt x="15703" y="0"/>
                      <a:pt x="1287635" y="0"/>
                    </a:cubicBezTo>
                    <a:cubicBezTo>
                      <a:pt x="1296201" y="0"/>
                      <a:pt x="1303338" y="7141"/>
                      <a:pt x="1303338" y="15710"/>
                    </a:cubicBezTo>
                    <a:cubicBezTo>
                      <a:pt x="1303338" y="15710"/>
                      <a:pt x="1303338" y="15710"/>
                      <a:pt x="1303338" y="354179"/>
                    </a:cubicBezTo>
                    <a:cubicBezTo>
                      <a:pt x="1303338" y="362747"/>
                      <a:pt x="1296201" y="369888"/>
                      <a:pt x="1287635" y="369888"/>
                    </a:cubicBezTo>
                    <a:cubicBezTo>
                      <a:pt x="1287635" y="369888"/>
                      <a:pt x="1287635" y="369888"/>
                      <a:pt x="15703" y="369888"/>
                    </a:cubicBezTo>
                    <a:cubicBezTo>
                      <a:pt x="7138" y="369888"/>
                      <a:pt x="0" y="362747"/>
                      <a:pt x="0" y="354179"/>
                    </a:cubicBezTo>
                    <a:cubicBezTo>
                      <a:pt x="0" y="354179"/>
                      <a:pt x="0" y="354179"/>
                      <a:pt x="0" y="15710"/>
                    </a:cubicBezTo>
                    <a:cubicBezTo>
                      <a:pt x="0" y="7141"/>
                      <a:pt x="7138" y="0"/>
                      <a:pt x="15703"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97" name="Freeform 7">
                <a:extLst>
                  <a:ext uri="{FF2B5EF4-FFF2-40B4-BE49-F238E27FC236}">
                    <a16:creationId xmlns:a16="http://schemas.microsoft.com/office/drawing/2014/main" id="{CB016115-BBFD-43A6-B8B8-21ABA8B40014}"/>
                  </a:ext>
                </a:extLst>
              </p:cNvPr>
              <p:cNvSpPr>
                <a:spLocks/>
              </p:cNvSpPr>
              <p:nvPr/>
            </p:nvSpPr>
            <p:spPr bwMode="auto">
              <a:xfrm>
                <a:off x="5514975" y="3424238"/>
                <a:ext cx="971550" cy="30163"/>
              </a:xfrm>
              <a:custGeom>
                <a:avLst/>
                <a:gdLst>
                  <a:gd name="T0" fmla="*/ 1339 w 1361"/>
                  <a:gd name="T1" fmla="*/ 0 h 42"/>
                  <a:gd name="T2" fmla="*/ 22 w 1361"/>
                  <a:gd name="T3" fmla="*/ 0 h 42"/>
                  <a:gd name="T4" fmla="*/ 0 w 1361"/>
                  <a:gd name="T5" fmla="*/ 21 h 42"/>
                  <a:gd name="T6" fmla="*/ 22 w 1361"/>
                  <a:gd name="T7" fmla="*/ 42 h 42"/>
                  <a:gd name="T8" fmla="*/ 1339 w 1361"/>
                  <a:gd name="T9" fmla="*/ 42 h 42"/>
                  <a:gd name="T10" fmla="*/ 1361 w 1361"/>
                  <a:gd name="T11" fmla="*/ 21 h 42"/>
                  <a:gd name="T12" fmla="*/ 1339 w 136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361" h="42">
                    <a:moveTo>
                      <a:pt x="1339" y="0"/>
                    </a:moveTo>
                    <a:cubicBezTo>
                      <a:pt x="22" y="0"/>
                      <a:pt x="22" y="0"/>
                      <a:pt x="22" y="0"/>
                    </a:cubicBezTo>
                    <a:cubicBezTo>
                      <a:pt x="10" y="0"/>
                      <a:pt x="0" y="9"/>
                      <a:pt x="0" y="21"/>
                    </a:cubicBezTo>
                    <a:cubicBezTo>
                      <a:pt x="0" y="33"/>
                      <a:pt x="10" y="42"/>
                      <a:pt x="22" y="42"/>
                    </a:cubicBezTo>
                    <a:cubicBezTo>
                      <a:pt x="1339" y="42"/>
                      <a:pt x="1339" y="42"/>
                      <a:pt x="1339" y="42"/>
                    </a:cubicBezTo>
                    <a:cubicBezTo>
                      <a:pt x="1351" y="42"/>
                      <a:pt x="1361" y="33"/>
                      <a:pt x="1361" y="21"/>
                    </a:cubicBezTo>
                    <a:cubicBezTo>
                      <a:pt x="1361" y="9"/>
                      <a:pt x="1351" y="0"/>
                      <a:pt x="1339"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2" name="Group 101">
            <a:extLst>
              <a:ext uri="{FF2B5EF4-FFF2-40B4-BE49-F238E27FC236}">
                <a16:creationId xmlns:a16="http://schemas.microsoft.com/office/drawing/2014/main" id="{0E1DD401-5AA9-4058-AE82-CE679F490429}"/>
              </a:ext>
            </a:extLst>
          </p:cNvPr>
          <p:cNvGrpSpPr>
            <a:grpSpLocks noChangeAspect="1"/>
          </p:cNvGrpSpPr>
          <p:nvPr/>
        </p:nvGrpSpPr>
        <p:grpSpPr>
          <a:xfrm>
            <a:off x="8100631" y="2176247"/>
            <a:ext cx="1035408" cy="1035407"/>
            <a:chOff x="5273675" y="2611438"/>
            <a:chExt cx="1646238" cy="1646237"/>
          </a:xfrm>
        </p:grpSpPr>
        <p:sp>
          <p:nvSpPr>
            <p:cNvPr id="103" name="AutoShape 3">
              <a:extLst>
                <a:ext uri="{FF2B5EF4-FFF2-40B4-BE49-F238E27FC236}">
                  <a16:creationId xmlns:a16="http://schemas.microsoft.com/office/drawing/2014/main" id="{9148F1FF-F2A9-41E8-B965-FEA294F927E5}"/>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4" name="Group 103">
              <a:extLst>
                <a:ext uri="{FF2B5EF4-FFF2-40B4-BE49-F238E27FC236}">
                  <a16:creationId xmlns:a16="http://schemas.microsoft.com/office/drawing/2014/main" id="{090D806E-4DDD-4F11-BFAB-F53EC34E29A6}"/>
                </a:ext>
              </a:extLst>
            </p:cNvPr>
            <p:cNvGrpSpPr/>
            <p:nvPr/>
          </p:nvGrpSpPr>
          <p:grpSpPr>
            <a:xfrm>
              <a:off x="5452534" y="2741613"/>
              <a:ext cx="1285344" cy="1266823"/>
              <a:chOff x="5452534" y="2741613"/>
              <a:chExt cx="1285344" cy="1266823"/>
            </a:xfrm>
          </p:grpSpPr>
          <p:sp>
            <p:nvSpPr>
              <p:cNvPr id="105" name="Freeform 5">
                <a:extLst>
                  <a:ext uri="{FF2B5EF4-FFF2-40B4-BE49-F238E27FC236}">
                    <a16:creationId xmlns:a16="http://schemas.microsoft.com/office/drawing/2014/main" id="{F3297C5D-58C5-41E1-A387-B9191CB7DAB5}"/>
                  </a:ext>
                </a:extLst>
              </p:cNvPr>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rgbClr val="0F243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6" name="Freeform 12">
                <a:extLst>
                  <a:ext uri="{FF2B5EF4-FFF2-40B4-BE49-F238E27FC236}">
                    <a16:creationId xmlns:a16="http://schemas.microsoft.com/office/drawing/2014/main" id="{11153566-FD28-440C-9E52-5448E4017BA9}"/>
                  </a:ext>
                </a:extLst>
              </p:cNvPr>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rgbClr val="16448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07" name="Group 106">
            <a:extLst>
              <a:ext uri="{FF2B5EF4-FFF2-40B4-BE49-F238E27FC236}">
                <a16:creationId xmlns:a16="http://schemas.microsoft.com/office/drawing/2014/main" id="{DABBD0D9-0E82-4CF8-9E34-1432ACD5667A}"/>
              </a:ext>
            </a:extLst>
          </p:cNvPr>
          <p:cNvGrpSpPr>
            <a:grpSpLocks noChangeAspect="1"/>
          </p:cNvGrpSpPr>
          <p:nvPr/>
        </p:nvGrpSpPr>
        <p:grpSpPr>
          <a:xfrm>
            <a:off x="9885229" y="2176247"/>
            <a:ext cx="1034408" cy="1035407"/>
            <a:chOff x="5273675" y="2606675"/>
            <a:chExt cx="1643063" cy="1644650"/>
          </a:xfrm>
        </p:grpSpPr>
        <p:sp>
          <p:nvSpPr>
            <p:cNvPr id="108" name="AutoShape 30">
              <a:extLst>
                <a:ext uri="{FF2B5EF4-FFF2-40B4-BE49-F238E27FC236}">
                  <a16:creationId xmlns:a16="http://schemas.microsoft.com/office/drawing/2014/main" id="{9E641C62-C9CC-4A3D-A0DB-CC5A7C510212}"/>
                </a:ext>
              </a:extLst>
            </p:cNvPr>
            <p:cNvSpPr>
              <a:spLocks noChangeAspect="1" noChangeArrowheads="1" noTextEdit="1"/>
            </p:cNvSpPr>
            <p:nvPr/>
          </p:nvSpPr>
          <p:spPr bwMode="auto">
            <a:xfrm>
              <a:off x="52736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9" name="Group 108">
              <a:extLst>
                <a:ext uri="{FF2B5EF4-FFF2-40B4-BE49-F238E27FC236}">
                  <a16:creationId xmlns:a16="http://schemas.microsoft.com/office/drawing/2014/main" id="{140ACED3-D7F2-470E-BFFB-E03B10B0220C}"/>
                </a:ext>
              </a:extLst>
            </p:cNvPr>
            <p:cNvGrpSpPr/>
            <p:nvPr/>
          </p:nvGrpSpPr>
          <p:grpSpPr>
            <a:xfrm>
              <a:off x="5437187" y="2794000"/>
              <a:ext cx="1303338" cy="1273176"/>
              <a:chOff x="5437187" y="2794000"/>
              <a:chExt cx="1303338" cy="1273176"/>
            </a:xfrm>
          </p:grpSpPr>
          <p:sp>
            <p:nvSpPr>
              <p:cNvPr id="110" name="Freeform 5">
                <a:extLst>
                  <a:ext uri="{FF2B5EF4-FFF2-40B4-BE49-F238E27FC236}">
                    <a16:creationId xmlns:a16="http://schemas.microsoft.com/office/drawing/2014/main" id="{E93BF5EA-4DC4-41D6-A424-E868DAA58E93}"/>
                  </a:ext>
                </a:extLst>
              </p:cNvPr>
              <p:cNvSpPr>
                <a:spLocks/>
              </p:cNvSpPr>
              <p:nvPr/>
            </p:nvSpPr>
            <p:spPr bwMode="auto">
              <a:xfrm>
                <a:off x="5437187" y="2794000"/>
                <a:ext cx="1303338" cy="1273176"/>
              </a:xfrm>
              <a:custGeom>
                <a:avLst/>
                <a:gdLst>
                  <a:gd name="connsiteX0" fmla="*/ 30162 w 1303338"/>
                  <a:gd name="connsiteY0" fmla="*/ 954088 h 1273176"/>
                  <a:gd name="connsiteX1" fmla="*/ 30162 w 1303338"/>
                  <a:gd name="connsiteY1" fmla="*/ 1241426 h 1273176"/>
                  <a:gd name="connsiteX2" fmla="*/ 392112 w 1303338"/>
                  <a:gd name="connsiteY2" fmla="*/ 1241426 h 1273176"/>
                  <a:gd name="connsiteX3" fmla="*/ 392112 w 1303338"/>
                  <a:gd name="connsiteY3" fmla="*/ 954088 h 1273176"/>
                  <a:gd name="connsiteX4" fmla="*/ 30162 w 1303338"/>
                  <a:gd name="connsiteY4" fmla="*/ 954088 h 1273176"/>
                  <a:gd name="connsiteX5" fmla="*/ 24221 w 1303338"/>
                  <a:gd name="connsiteY5" fmla="*/ 922338 h 1273176"/>
                  <a:gd name="connsiteX6" fmla="*/ 400355 w 1303338"/>
                  <a:gd name="connsiteY6" fmla="*/ 922338 h 1273176"/>
                  <a:gd name="connsiteX7" fmla="*/ 423863 w 1303338"/>
                  <a:gd name="connsiteY7" fmla="*/ 945870 h 1273176"/>
                  <a:gd name="connsiteX8" fmla="*/ 423863 w 1303338"/>
                  <a:gd name="connsiteY8" fmla="*/ 1249644 h 1273176"/>
                  <a:gd name="connsiteX9" fmla="*/ 400355 w 1303338"/>
                  <a:gd name="connsiteY9" fmla="*/ 1273176 h 1273176"/>
                  <a:gd name="connsiteX10" fmla="*/ 24221 w 1303338"/>
                  <a:gd name="connsiteY10" fmla="*/ 1273176 h 1273176"/>
                  <a:gd name="connsiteX11" fmla="*/ 0 w 1303338"/>
                  <a:gd name="connsiteY11" fmla="*/ 1249644 h 1273176"/>
                  <a:gd name="connsiteX12" fmla="*/ 0 w 1303338"/>
                  <a:gd name="connsiteY12" fmla="*/ 945870 h 1273176"/>
                  <a:gd name="connsiteX13" fmla="*/ 24221 w 1303338"/>
                  <a:gd name="connsiteY13" fmla="*/ 922338 h 1273176"/>
                  <a:gd name="connsiteX14" fmla="*/ 715169 w 1303338"/>
                  <a:gd name="connsiteY14" fmla="*/ 0 h 1273176"/>
                  <a:gd name="connsiteX15" fmla="*/ 1303338 w 1303338"/>
                  <a:gd name="connsiteY15" fmla="*/ 588962 h 1273176"/>
                  <a:gd name="connsiteX16" fmla="*/ 715169 w 1303338"/>
                  <a:gd name="connsiteY16" fmla="*/ 1177925 h 1273176"/>
                  <a:gd name="connsiteX17" fmla="*/ 454633 w 1303338"/>
                  <a:gd name="connsiteY17" fmla="*/ 1117244 h 1273176"/>
                  <a:gd name="connsiteX18" fmla="*/ 454633 w 1303338"/>
                  <a:gd name="connsiteY18" fmla="*/ 1081550 h 1273176"/>
                  <a:gd name="connsiteX19" fmla="*/ 715169 w 1303338"/>
                  <a:gd name="connsiteY19" fmla="*/ 1146514 h 1273176"/>
                  <a:gd name="connsiteX20" fmla="*/ 1272645 w 1303338"/>
                  <a:gd name="connsiteY20" fmla="*/ 588962 h 1273176"/>
                  <a:gd name="connsiteX21" fmla="*/ 715169 w 1303338"/>
                  <a:gd name="connsiteY21" fmla="*/ 31411 h 1273176"/>
                  <a:gd name="connsiteX22" fmla="*/ 158407 w 1303338"/>
                  <a:gd name="connsiteY22" fmla="*/ 588962 h 1273176"/>
                  <a:gd name="connsiteX23" fmla="*/ 165545 w 1303338"/>
                  <a:gd name="connsiteY23" fmla="*/ 681055 h 1273176"/>
                  <a:gd name="connsiteX24" fmla="*/ 135566 w 1303338"/>
                  <a:gd name="connsiteY24" fmla="*/ 691049 h 1273176"/>
                  <a:gd name="connsiteX25" fmla="*/ 127000 w 1303338"/>
                  <a:gd name="connsiteY25" fmla="*/ 588962 h 1273176"/>
                  <a:gd name="connsiteX26" fmla="*/ 715169 w 1303338"/>
                  <a:gd name="connsiteY26" fmla="*/ 0 h 127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03338" h="1273176">
                    <a:moveTo>
                      <a:pt x="30162" y="954088"/>
                    </a:moveTo>
                    <a:cubicBezTo>
                      <a:pt x="30162" y="1241426"/>
                      <a:pt x="30162" y="1241426"/>
                      <a:pt x="30162" y="1241426"/>
                    </a:cubicBezTo>
                    <a:cubicBezTo>
                      <a:pt x="392112" y="1241426"/>
                      <a:pt x="392112" y="1241426"/>
                      <a:pt x="392112" y="1241426"/>
                    </a:cubicBezTo>
                    <a:cubicBezTo>
                      <a:pt x="392112" y="954088"/>
                      <a:pt x="392112" y="954088"/>
                      <a:pt x="392112" y="954088"/>
                    </a:cubicBezTo>
                    <a:cubicBezTo>
                      <a:pt x="30162" y="954088"/>
                      <a:pt x="30162" y="954088"/>
                      <a:pt x="30162" y="954088"/>
                    </a:cubicBezTo>
                    <a:close/>
                    <a:moveTo>
                      <a:pt x="24221" y="922338"/>
                    </a:moveTo>
                    <a:cubicBezTo>
                      <a:pt x="400355" y="922338"/>
                      <a:pt x="400355" y="922338"/>
                      <a:pt x="400355" y="922338"/>
                    </a:cubicBezTo>
                    <a:cubicBezTo>
                      <a:pt x="413178" y="922338"/>
                      <a:pt x="423863" y="933034"/>
                      <a:pt x="423863" y="945870"/>
                    </a:cubicBezTo>
                    <a:cubicBezTo>
                      <a:pt x="423863" y="1249644"/>
                      <a:pt x="423863" y="1249644"/>
                      <a:pt x="423863" y="1249644"/>
                    </a:cubicBezTo>
                    <a:cubicBezTo>
                      <a:pt x="423863" y="1262480"/>
                      <a:pt x="413178" y="1273176"/>
                      <a:pt x="400355" y="1273176"/>
                    </a:cubicBezTo>
                    <a:cubicBezTo>
                      <a:pt x="24221" y="1273176"/>
                      <a:pt x="24221" y="1273176"/>
                      <a:pt x="24221" y="1273176"/>
                    </a:cubicBezTo>
                    <a:cubicBezTo>
                      <a:pt x="10686" y="1273176"/>
                      <a:pt x="0" y="1262480"/>
                      <a:pt x="0" y="1249644"/>
                    </a:cubicBezTo>
                    <a:cubicBezTo>
                      <a:pt x="0" y="945870"/>
                      <a:pt x="0" y="945870"/>
                      <a:pt x="0" y="945870"/>
                    </a:cubicBezTo>
                    <a:cubicBezTo>
                      <a:pt x="0" y="933034"/>
                      <a:pt x="10686" y="922338"/>
                      <a:pt x="24221" y="922338"/>
                    </a:cubicBezTo>
                    <a:close/>
                    <a:moveTo>
                      <a:pt x="715169" y="0"/>
                    </a:moveTo>
                    <a:cubicBezTo>
                      <a:pt x="1039947" y="0"/>
                      <a:pt x="1303338" y="264141"/>
                      <a:pt x="1303338" y="588962"/>
                    </a:cubicBezTo>
                    <a:cubicBezTo>
                      <a:pt x="1303338" y="913784"/>
                      <a:pt x="1039947" y="1177925"/>
                      <a:pt x="715169" y="1177925"/>
                    </a:cubicBezTo>
                    <a:cubicBezTo>
                      <a:pt x="620948" y="1177925"/>
                      <a:pt x="533151" y="1155794"/>
                      <a:pt x="454633" y="1117244"/>
                    </a:cubicBezTo>
                    <a:cubicBezTo>
                      <a:pt x="454633" y="1117244"/>
                      <a:pt x="454633" y="1117244"/>
                      <a:pt x="454633" y="1081550"/>
                    </a:cubicBezTo>
                    <a:cubicBezTo>
                      <a:pt x="532437" y="1122955"/>
                      <a:pt x="620948" y="1146514"/>
                      <a:pt x="715169" y="1146514"/>
                    </a:cubicBezTo>
                    <a:cubicBezTo>
                      <a:pt x="1022102" y="1146514"/>
                      <a:pt x="1272645" y="896651"/>
                      <a:pt x="1272645" y="588962"/>
                    </a:cubicBezTo>
                    <a:cubicBezTo>
                      <a:pt x="1272645" y="281988"/>
                      <a:pt x="1022102" y="31411"/>
                      <a:pt x="715169" y="31411"/>
                    </a:cubicBezTo>
                    <a:cubicBezTo>
                      <a:pt x="408236" y="31411"/>
                      <a:pt x="158407" y="281988"/>
                      <a:pt x="158407" y="588962"/>
                    </a:cubicBezTo>
                    <a:cubicBezTo>
                      <a:pt x="158407" y="620374"/>
                      <a:pt x="160549" y="651071"/>
                      <a:pt x="165545" y="681055"/>
                    </a:cubicBezTo>
                    <a:cubicBezTo>
                      <a:pt x="156266" y="683910"/>
                      <a:pt x="146273" y="686766"/>
                      <a:pt x="135566" y="691049"/>
                    </a:cubicBezTo>
                    <a:cubicBezTo>
                      <a:pt x="129855" y="657496"/>
                      <a:pt x="127000" y="623943"/>
                      <a:pt x="127000" y="588962"/>
                    </a:cubicBezTo>
                    <a:cubicBezTo>
                      <a:pt x="127000" y="264141"/>
                      <a:pt x="391105" y="0"/>
                      <a:pt x="715169"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11" name="Freeform 6">
                <a:extLst>
                  <a:ext uri="{FF2B5EF4-FFF2-40B4-BE49-F238E27FC236}">
                    <a16:creationId xmlns:a16="http://schemas.microsoft.com/office/drawing/2014/main" id="{9589EED4-4FE7-4D48-B508-7172FF5DE78F}"/>
                  </a:ext>
                </a:extLst>
              </p:cNvPr>
              <p:cNvSpPr>
                <a:spLocks/>
              </p:cNvSpPr>
              <p:nvPr/>
            </p:nvSpPr>
            <p:spPr bwMode="auto">
              <a:xfrm>
                <a:off x="5483225" y="2851150"/>
                <a:ext cx="1198563" cy="1158876"/>
              </a:xfrm>
              <a:custGeom>
                <a:avLst/>
                <a:gdLst>
                  <a:gd name="connsiteX0" fmla="*/ 165101 w 1198563"/>
                  <a:gd name="connsiteY0" fmla="*/ 976313 h 1158876"/>
                  <a:gd name="connsiteX1" fmla="*/ 128588 w 1198563"/>
                  <a:gd name="connsiteY1" fmla="*/ 1012746 h 1158876"/>
                  <a:gd name="connsiteX2" fmla="*/ 149350 w 1198563"/>
                  <a:gd name="connsiteY2" fmla="*/ 1046322 h 1158876"/>
                  <a:gd name="connsiteX3" fmla="*/ 149350 w 1198563"/>
                  <a:gd name="connsiteY3" fmla="*/ 1102044 h 1158876"/>
                  <a:gd name="connsiteX4" fmla="*/ 153646 w 1198563"/>
                  <a:gd name="connsiteY4" fmla="*/ 1104901 h 1158876"/>
                  <a:gd name="connsiteX5" fmla="*/ 176556 w 1198563"/>
                  <a:gd name="connsiteY5" fmla="*/ 1104901 h 1158876"/>
                  <a:gd name="connsiteX6" fmla="*/ 180135 w 1198563"/>
                  <a:gd name="connsiteY6" fmla="*/ 1102044 h 1158876"/>
                  <a:gd name="connsiteX7" fmla="*/ 180135 w 1198563"/>
                  <a:gd name="connsiteY7" fmla="*/ 1046322 h 1158876"/>
                  <a:gd name="connsiteX8" fmla="*/ 201613 w 1198563"/>
                  <a:gd name="connsiteY8" fmla="*/ 1012746 h 1158876"/>
                  <a:gd name="connsiteX9" fmla="*/ 165101 w 1198563"/>
                  <a:gd name="connsiteY9" fmla="*/ 976313 h 1158876"/>
                  <a:gd name="connsiteX10" fmla="*/ 13102 w 1198563"/>
                  <a:gd name="connsiteY10" fmla="*/ 922338 h 1158876"/>
                  <a:gd name="connsiteX11" fmla="*/ 317814 w 1198563"/>
                  <a:gd name="connsiteY11" fmla="*/ 922338 h 1158876"/>
                  <a:gd name="connsiteX12" fmla="*/ 320675 w 1198563"/>
                  <a:gd name="connsiteY12" fmla="*/ 926613 h 1158876"/>
                  <a:gd name="connsiteX13" fmla="*/ 320675 w 1198563"/>
                  <a:gd name="connsiteY13" fmla="*/ 1154601 h 1158876"/>
                  <a:gd name="connsiteX14" fmla="*/ 317814 w 1198563"/>
                  <a:gd name="connsiteY14" fmla="*/ 1158876 h 1158876"/>
                  <a:gd name="connsiteX15" fmla="*/ 13102 w 1198563"/>
                  <a:gd name="connsiteY15" fmla="*/ 1158876 h 1158876"/>
                  <a:gd name="connsiteX16" fmla="*/ 9525 w 1198563"/>
                  <a:gd name="connsiteY16" fmla="*/ 1154601 h 1158876"/>
                  <a:gd name="connsiteX17" fmla="*/ 9525 w 1198563"/>
                  <a:gd name="connsiteY17" fmla="*/ 926613 h 1158876"/>
                  <a:gd name="connsiteX18" fmla="*/ 13102 w 1198563"/>
                  <a:gd name="connsiteY18" fmla="*/ 922338 h 1158876"/>
                  <a:gd name="connsiteX19" fmla="*/ 407988 w 1198563"/>
                  <a:gd name="connsiteY19" fmla="*/ 882650 h 1158876"/>
                  <a:gd name="connsiteX20" fmla="*/ 410819 w 1198563"/>
                  <a:gd name="connsiteY20" fmla="*/ 883366 h 1158876"/>
                  <a:gd name="connsiteX21" fmla="*/ 434172 w 1198563"/>
                  <a:gd name="connsiteY21" fmla="*/ 928461 h 1158876"/>
                  <a:gd name="connsiteX22" fmla="*/ 525463 w 1198563"/>
                  <a:gd name="connsiteY22" fmla="*/ 1042988 h 1158876"/>
                  <a:gd name="connsiteX23" fmla="*/ 407988 w 1198563"/>
                  <a:gd name="connsiteY23" fmla="*/ 992883 h 1158876"/>
                  <a:gd name="connsiteX24" fmla="*/ 407988 w 1198563"/>
                  <a:gd name="connsiteY24" fmla="*/ 887660 h 1158876"/>
                  <a:gd name="connsiteX25" fmla="*/ 407988 w 1198563"/>
                  <a:gd name="connsiteY25" fmla="*/ 882650 h 1158876"/>
                  <a:gd name="connsiteX26" fmla="*/ 954902 w 1198563"/>
                  <a:gd name="connsiteY26" fmla="*/ 869950 h 1158876"/>
                  <a:gd name="connsiteX27" fmla="*/ 1041401 w 1198563"/>
                  <a:gd name="connsiteY27" fmla="*/ 908562 h 1158876"/>
                  <a:gd name="connsiteX28" fmla="*/ 811213 w 1198563"/>
                  <a:gd name="connsiteY28" fmla="*/ 1042988 h 1158876"/>
                  <a:gd name="connsiteX29" fmla="*/ 903431 w 1198563"/>
                  <a:gd name="connsiteY29" fmla="*/ 928583 h 1158876"/>
                  <a:gd name="connsiteX30" fmla="*/ 926307 w 1198563"/>
                  <a:gd name="connsiteY30" fmla="*/ 883536 h 1158876"/>
                  <a:gd name="connsiteX31" fmla="*/ 954902 w 1198563"/>
                  <a:gd name="connsiteY31" fmla="*/ 869950 h 1158876"/>
                  <a:gd name="connsiteX32" fmla="*/ 704201 w 1198563"/>
                  <a:gd name="connsiteY32" fmla="*/ 825500 h 1158876"/>
                  <a:gd name="connsiteX33" fmla="*/ 886944 w 1198563"/>
                  <a:gd name="connsiteY33" fmla="*/ 851149 h 1158876"/>
                  <a:gd name="connsiteX34" fmla="*/ 896938 w 1198563"/>
                  <a:gd name="connsiteY34" fmla="*/ 871810 h 1158876"/>
                  <a:gd name="connsiteX35" fmla="*/ 875523 w 1198563"/>
                  <a:gd name="connsiteY35" fmla="*/ 913845 h 1158876"/>
                  <a:gd name="connsiteX36" fmla="*/ 714195 w 1198563"/>
                  <a:gd name="connsiteY36" fmla="*/ 1060613 h 1158876"/>
                  <a:gd name="connsiteX37" fmla="*/ 684213 w 1198563"/>
                  <a:gd name="connsiteY37" fmla="*/ 1062038 h 1158876"/>
                  <a:gd name="connsiteX38" fmla="*/ 684213 w 1198563"/>
                  <a:gd name="connsiteY38" fmla="*/ 845449 h 1158876"/>
                  <a:gd name="connsiteX39" fmla="*/ 704201 w 1198563"/>
                  <a:gd name="connsiteY39" fmla="*/ 825500 h 1158876"/>
                  <a:gd name="connsiteX40" fmla="*/ 632543 w 1198563"/>
                  <a:gd name="connsiteY40" fmla="*/ 825500 h 1158876"/>
                  <a:gd name="connsiteX41" fmla="*/ 652463 w 1198563"/>
                  <a:gd name="connsiteY41" fmla="*/ 845449 h 1158876"/>
                  <a:gd name="connsiteX42" fmla="*/ 652463 w 1198563"/>
                  <a:gd name="connsiteY42" fmla="*/ 1062038 h 1158876"/>
                  <a:gd name="connsiteX43" fmla="*/ 622582 w 1198563"/>
                  <a:gd name="connsiteY43" fmla="*/ 1060613 h 1158876"/>
                  <a:gd name="connsiteX44" fmla="*/ 461082 w 1198563"/>
                  <a:gd name="connsiteY44" fmla="*/ 913845 h 1158876"/>
                  <a:gd name="connsiteX45" fmla="*/ 439738 w 1198563"/>
                  <a:gd name="connsiteY45" fmla="*/ 871810 h 1158876"/>
                  <a:gd name="connsiteX46" fmla="*/ 449699 w 1198563"/>
                  <a:gd name="connsiteY46" fmla="*/ 851149 h 1158876"/>
                  <a:gd name="connsiteX47" fmla="*/ 632543 w 1198563"/>
                  <a:gd name="connsiteY47" fmla="*/ 825500 h 1158876"/>
                  <a:gd name="connsiteX48" fmla="*/ 164742 w 1198563"/>
                  <a:gd name="connsiteY48" fmla="*/ 647700 h 1158876"/>
                  <a:gd name="connsiteX49" fmla="*/ 165458 w 1198563"/>
                  <a:gd name="connsiteY49" fmla="*/ 647700 h 1158876"/>
                  <a:gd name="connsiteX50" fmla="*/ 246397 w 1198563"/>
                  <a:gd name="connsiteY50" fmla="*/ 667643 h 1158876"/>
                  <a:gd name="connsiteX51" fmla="*/ 330200 w 1198563"/>
                  <a:gd name="connsiteY51" fmla="*/ 809383 h 1158876"/>
                  <a:gd name="connsiteX52" fmla="*/ 330200 w 1198563"/>
                  <a:gd name="connsiteY52" fmla="*/ 835025 h 1158876"/>
                  <a:gd name="connsiteX53" fmla="*/ 272899 w 1198563"/>
                  <a:gd name="connsiteY53" fmla="*/ 835025 h 1158876"/>
                  <a:gd name="connsiteX54" fmla="*/ 272899 w 1198563"/>
                  <a:gd name="connsiteY54" fmla="*/ 809383 h 1158876"/>
                  <a:gd name="connsiteX55" fmla="*/ 222044 w 1198563"/>
                  <a:gd name="connsiteY55" fmla="*/ 719638 h 1158876"/>
                  <a:gd name="connsiteX56" fmla="*/ 165458 w 1198563"/>
                  <a:gd name="connsiteY56" fmla="*/ 704681 h 1158876"/>
                  <a:gd name="connsiteX57" fmla="*/ 108157 w 1198563"/>
                  <a:gd name="connsiteY57" fmla="*/ 719638 h 1158876"/>
                  <a:gd name="connsiteX58" fmla="*/ 57302 w 1198563"/>
                  <a:gd name="connsiteY58" fmla="*/ 809383 h 1158876"/>
                  <a:gd name="connsiteX59" fmla="*/ 57302 w 1198563"/>
                  <a:gd name="connsiteY59" fmla="*/ 835025 h 1158876"/>
                  <a:gd name="connsiteX60" fmla="*/ 0 w 1198563"/>
                  <a:gd name="connsiteY60" fmla="*/ 835025 h 1158876"/>
                  <a:gd name="connsiteX61" fmla="*/ 0 w 1198563"/>
                  <a:gd name="connsiteY61" fmla="*/ 809383 h 1158876"/>
                  <a:gd name="connsiteX62" fmla="*/ 84520 w 1198563"/>
                  <a:gd name="connsiteY62" fmla="*/ 667643 h 1158876"/>
                  <a:gd name="connsiteX63" fmla="*/ 164742 w 1198563"/>
                  <a:gd name="connsiteY63" fmla="*/ 647700 h 1158876"/>
                  <a:gd name="connsiteX64" fmla="*/ 1016691 w 1198563"/>
                  <a:gd name="connsiteY64" fmla="*/ 547688 h 1158876"/>
                  <a:gd name="connsiteX65" fmla="*/ 1198563 w 1198563"/>
                  <a:gd name="connsiteY65" fmla="*/ 547688 h 1158876"/>
                  <a:gd name="connsiteX66" fmla="*/ 1063050 w 1198563"/>
                  <a:gd name="connsiteY66" fmla="*/ 885826 h 1158876"/>
                  <a:gd name="connsiteX67" fmla="*/ 964625 w 1198563"/>
                  <a:gd name="connsiteY67" fmla="*/ 841597 h 1158876"/>
                  <a:gd name="connsiteX68" fmla="*/ 952500 w 1198563"/>
                  <a:gd name="connsiteY68" fmla="*/ 816629 h 1158876"/>
                  <a:gd name="connsiteX69" fmla="*/ 996007 w 1198563"/>
                  <a:gd name="connsiteY69" fmla="*/ 568376 h 1158876"/>
                  <a:gd name="connsiteX70" fmla="*/ 1016691 w 1198563"/>
                  <a:gd name="connsiteY70" fmla="*/ 547688 h 1158876"/>
                  <a:gd name="connsiteX71" fmla="*/ 704233 w 1198563"/>
                  <a:gd name="connsiteY71" fmla="*/ 547688 h 1158876"/>
                  <a:gd name="connsiteX72" fmla="*/ 945182 w 1198563"/>
                  <a:gd name="connsiteY72" fmla="*/ 547688 h 1158876"/>
                  <a:gd name="connsiteX73" fmla="*/ 965201 w 1198563"/>
                  <a:gd name="connsiteY73" fmla="*/ 567586 h 1158876"/>
                  <a:gd name="connsiteX74" fmla="*/ 923732 w 1198563"/>
                  <a:gd name="connsiteY74" fmla="*/ 804938 h 1158876"/>
                  <a:gd name="connsiteX75" fmla="*/ 895133 w 1198563"/>
                  <a:gd name="connsiteY75" fmla="*/ 819151 h 1158876"/>
                  <a:gd name="connsiteX76" fmla="*/ 704233 w 1198563"/>
                  <a:gd name="connsiteY76" fmla="*/ 792857 h 1158876"/>
                  <a:gd name="connsiteX77" fmla="*/ 684213 w 1198563"/>
                  <a:gd name="connsiteY77" fmla="*/ 772249 h 1158876"/>
                  <a:gd name="connsiteX78" fmla="*/ 684213 w 1198563"/>
                  <a:gd name="connsiteY78" fmla="*/ 568296 h 1158876"/>
                  <a:gd name="connsiteX79" fmla="*/ 704233 w 1198563"/>
                  <a:gd name="connsiteY79" fmla="*/ 547688 h 1158876"/>
                  <a:gd name="connsiteX80" fmla="*/ 392259 w 1198563"/>
                  <a:gd name="connsiteY80" fmla="*/ 547688 h 1158876"/>
                  <a:gd name="connsiteX81" fmla="*/ 631846 w 1198563"/>
                  <a:gd name="connsiteY81" fmla="*/ 547688 h 1158876"/>
                  <a:gd name="connsiteX82" fmla="*/ 652463 w 1198563"/>
                  <a:gd name="connsiteY82" fmla="*/ 568296 h 1158876"/>
                  <a:gd name="connsiteX83" fmla="*/ 652463 w 1198563"/>
                  <a:gd name="connsiteY83" fmla="*/ 772249 h 1158876"/>
                  <a:gd name="connsiteX84" fmla="*/ 631846 w 1198563"/>
                  <a:gd name="connsiteY84" fmla="*/ 792857 h 1158876"/>
                  <a:gd name="connsiteX85" fmla="*/ 442025 w 1198563"/>
                  <a:gd name="connsiteY85" fmla="*/ 819151 h 1158876"/>
                  <a:gd name="connsiteX86" fmla="*/ 414298 w 1198563"/>
                  <a:gd name="connsiteY86" fmla="*/ 804938 h 1158876"/>
                  <a:gd name="connsiteX87" fmla="*/ 373063 w 1198563"/>
                  <a:gd name="connsiteY87" fmla="*/ 567586 h 1158876"/>
                  <a:gd name="connsiteX88" fmla="*/ 392259 w 1198563"/>
                  <a:gd name="connsiteY88" fmla="*/ 547688 h 1158876"/>
                  <a:gd name="connsiteX89" fmla="*/ 138113 w 1198563"/>
                  <a:gd name="connsiteY89" fmla="*/ 547688 h 1158876"/>
                  <a:gd name="connsiteX90" fmla="*/ 319799 w 1198563"/>
                  <a:gd name="connsiteY90" fmla="*/ 547688 h 1158876"/>
                  <a:gd name="connsiteX91" fmla="*/ 341258 w 1198563"/>
                  <a:gd name="connsiteY91" fmla="*/ 568337 h 1158876"/>
                  <a:gd name="connsiteX92" fmla="*/ 384176 w 1198563"/>
                  <a:gd name="connsiteY92" fmla="*/ 816128 h 1158876"/>
                  <a:gd name="connsiteX93" fmla="*/ 372731 w 1198563"/>
                  <a:gd name="connsiteY93" fmla="*/ 838201 h 1158876"/>
                  <a:gd name="connsiteX94" fmla="*/ 359141 w 1198563"/>
                  <a:gd name="connsiteY94" fmla="*/ 834641 h 1158876"/>
                  <a:gd name="connsiteX95" fmla="*/ 359141 w 1198563"/>
                  <a:gd name="connsiteY95" fmla="*/ 809007 h 1158876"/>
                  <a:gd name="connsiteX96" fmla="*/ 258999 w 1198563"/>
                  <a:gd name="connsiteY96" fmla="*/ 640965 h 1158876"/>
                  <a:gd name="connsiteX97" fmla="*/ 165295 w 1198563"/>
                  <a:gd name="connsiteY97" fmla="*/ 618180 h 1158876"/>
                  <a:gd name="connsiteX98" fmla="*/ 164579 w 1198563"/>
                  <a:gd name="connsiteY98" fmla="*/ 618180 h 1158876"/>
                  <a:gd name="connsiteX99" fmla="*/ 144551 w 1198563"/>
                  <a:gd name="connsiteY99" fmla="*/ 619604 h 1158876"/>
                  <a:gd name="connsiteX100" fmla="*/ 138113 w 1198563"/>
                  <a:gd name="connsiteY100" fmla="*/ 547688 h 1158876"/>
                  <a:gd name="connsiteX101" fmla="*/ 895133 w 1198563"/>
                  <a:gd name="connsiteY101" fmla="*/ 242888 h 1158876"/>
                  <a:gd name="connsiteX102" fmla="*/ 923732 w 1198563"/>
                  <a:gd name="connsiteY102" fmla="*/ 257898 h 1158876"/>
                  <a:gd name="connsiteX103" fmla="*/ 965201 w 1198563"/>
                  <a:gd name="connsiteY103" fmla="*/ 495924 h 1158876"/>
                  <a:gd name="connsiteX104" fmla="*/ 945182 w 1198563"/>
                  <a:gd name="connsiteY104" fmla="*/ 515938 h 1158876"/>
                  <a:gd name="connsiteX105" fmla="*/ 704233 w 1198563"/>
                  <a:gd name="connsiteY105" fmla="*/ 515938 h 1158876"/>
                  <a:gd name="connsiteX106" fmla="*/ 684213 w 1198563"/>
                  <a:gd name="connsiteY106" fmla="*/ 495924 h 1158876"/>
                  <a:gd name="connsiteX107" fmla="*/ 684213 w 1198563"/>
                  <a:gd name="connsiteY107" fmla="*/ 290779 h 1158876"/>
                  <a:gd name="connsiteX108" fmla="*/ 704233 w 1198563"/>
                  <a:gd name="connsiteY108" fmla="*/ 269335 h 1158876"/>
                  <a:gd name="connsiteX109" fmla="*/ 895133 w 1198563"/>
                  <a:gd name="connsiteY109" fmla="*/ 242888 h 1158876"/>
                  <a:gd name="connsiteX110" fmla="*/ 442025 w 1198563"/>
                  <a:gd name="connsiteY110" fmla="*/ 242888 h 1158876"/>
                  <a:gd name="connsiteX111" fmla="*/ 631846 w 1198563"/>
                  <a:gd name="connsiteY111" fmla="*/ 269335 h 1158876"/>
                  <a:gd name="connsiteX112" fmla="*/ 652463 w 1198563"/>
                  <a:gd name="connsiteY112" fmla="*/ 290779 h 1158876"/>
                  <a:gd name="connsiteX113" fmla="*/ 652463 w 1198563"/>
                  <a:gd name="connsiteY113" fmla="*/ 495924 h 1158876"/>
                  <a:gd name="connsiteX114" fmla="*/ 631846 w 1198563"/>
                  <a:gd name="connsiteY114" fmla="*/ 515938 h 1158876"/>
                  <a:gd name="connsiteX115" fmla="*/ 392259 w 1198563"/>
                  <a:gd name="connsiteY115" fmla="*/ 515938 h 1158876"/>
                  <a:gd name="connsiteX116" fmla="*/ 373063 w 1198563"/>
                  <a:gd name="connsiteY116" fmla="*/ 495924 h 1158876"/>
                  <a:gd name="connsiteX117" fmla="*/ 414298 w 1198563"/>
                  <a:gd name="connsiteY117" fmla="*/ 257898 h 1158876"/>
                  <a:gd name="connsiteX118" fmla="*/ 442025 w 1198563"/>
                  <a:gd name="connsiteY118" fmla="*/ 242888 h 1158876"/>
                  <a:gd name="connsiteX119" fmla="*/ 1063050 w 1198563"/>
                  <a:gd name="connsiteY119" fmla="*/ 177800 h 1158876"/>
                  <a:gd name="connsiteX120" fmla="*/ 1198563 w 1198563"/>
                  <a:gd name="connsiteY120" fmla="*/ 515938 h 1158876"/>
                  <a:gd name="connsiteX121" fmla="*/ 1016691 w 1198563"/>
                  <a:gd name="connsiteY121" fmla="*/ 515938 h 1158876"/>
                  <a:gd name="connsiteX122" fmla="*/ 996007 w 1198563"/>
                  <a:gd name="connsiteY122" fmla="*/ 495921 h 1158876"/>
                  <a:gd name="connsiteX123" fmla="*/ 952500 w 1198563"/>
                  <a:gd name="connsiteY123" fmla="*/ 247143 h 1158876"/>
                  <a:gd name="connsiteX124" fmla="*/ 964625 w 1198563"/>
                  <a:gd name="connsiteY124" fmla="*/ 222122 h 1158876"/>
                  <a:gd name="connsiteX125" fmla="*/ 1063050 w 1198563"/>
                  <a:gd name="connsiteY125" fmla="*/ 177800 h 1158876"/>
                  <a:gd name="connsiteX126" fmla="*/ 273305 w 1198563"/>
                  <a:gd name="connsiteY126" fmla="*/ 177800 h 1158876"/>
                  <a:gd name="connsiteX127" fmla="*/ 372731 w 1198563"/>
                  <a:gd name="connsiteY127" fmla="*/ 222122 h 1158876"/>
                  <a:gd name="connsiteX128" fmla="*/ 384176 w 1198563"/>
                  <a:gd name="connsiteY128" fmla="*/ 247143 h 1158876"/>
                  <a:gd name="connsiteX129" fmla="*/ 341258 w 1198563"/>
                  <a:gd name="connsiteY129" fmla="*/ 495921 h 1158876"/>
                  <a:gd name="connsiteX130" fmla="*/ 319799 w 1198563"/>
                  <a:gd name="connsiteY130" fmla="*/ 515938 h 1158876"/>
                  <a:gd name="connsiteX131" fmla="*/ 138113 w 1198563"/>
                  <a:gd name="connsiteY131" fmla="*/ 515938 h 1158876"/>
                  <a:gd name="connsiteX132" fmla="*/ 273305 w 1198563"/>
                  <a:gd name="connsiteY132" fmla="*/ 177800 h 1158876"/>
                  <a:gd name="connsiteX133" fmla="*/ 811213 w 1198563"/>
                  <a:gd name="connsiteY133" fmla="*/ 19050 h 1158876"/>
                  <a:gd name="connsiteX134" fmla="*/ 1041401 w 1198563"/>
                  <a:gd name="connsiteY134" fmla="*/ 154191 h 1158876"/>
                  <a:gd name="connsiteX135" fmla="*/ 954902 w 1198563"/>
                  <a:gd name="connsiteY135" fmla="*/ 192088 h 1158876"/>
                  <a:gd name="connsiteX136" fmla="*/ 926307 w 1198563"/>
                  <a:gd name="connsiteY136" fmla="*/ 179217 h 1158876"/>
                  <a:gd name="connsiteX137" fmla="*/ 903431 w 1198563"/>
                  <a:gd name="connsiteY137" fmla="*/ 134170 h 1158876"/>
                  <a:gd name="connsiteX138" fmla="*/ 811213 w 1198563"/>
                  <a:gd name="connsiteY138" fmla="*/ 19050 h 1158876"/>
                  <a:gd name="connsiteX139" fmla="*/ 525463 w 1198563"/>
                  <a:gd name="connsiteY139" fmla="*/ 19050 h 1158876"/>
                  <a:gd name="connsiteX140" fmla="*/ 433531 w 1198563"/>
                  <a:gd name="connsiteY140" fmla="*/ 134170 h 1158876"/>
                  <a:gd name="connsiteX141" fmla="*/ 410013 w 1198563"/>
                  <a:gd name="connsiteY141" fmla="*/ 179217 h 1158876"/>
                  <a:gd name="connsiteX142" fmla="*/ 381507 w 1198563"/>
                  <a:gd name="connsiteY142" fmla="*/ 192088 h 1158876"/>
                  <a:gd name="connsiteX143" fmla="*/ 295275 w 1198563"/>
                  <a:gd name="connsiteY143" fmla="*/ 154191 h 1158876"/>
                  <a:gd name="connsiteX144" fmla="*/ 525463 w 1198563"/>
                  <a:gd name="connsiteY144" fmla="*/ 19050 h 1158876"/>
                  <a:gd name="connsiteX145" fmla="*/ 684213 w 1198563"/>
                  <a:gd name="connsiteY145" fmla="*/ 0 h 1158876"/>
                  <a:gd name="connsiteX146" fmla="*/ 714195 w 1198563"/>
                  <a:gd name="connsiteY146" fmla="*/ 2145 h 1158876"/>
                  <a:gd name="connsiteX147" fmla="*/ 875523 w 1198563"/>
                  <a:gd name="connsiteY147" fmla="*/ 150169 h 1158876"/>
                  <a:gd name="connsiteX148" fmla="*/ 896938 w 1198563"/>
                  <a:gd name="connsiteY148" fmla="*/ 191644 h 1158876"/>
                  <a:gd name="connsiteX149" fmla="*/ 886944 w 1198563"/>
                  <a:gd name="connsiteY149" fmla="*/ 213097 h 1158876"/>
                  <a:gd name="connsiteX150" fmla="*/ 704201 w 1198563"/>
                  <a:gd name="connsiteY150" fmla="*/ 238125 h 1158876"/>
                  <a:gd name="connsiteX151" fmla="*/ 684213 w 1198563"/>
                  <a:gd name="connsiteY151" fmla="*/ 218817 h 1158876"/>
                  <a:gd name="connsiteX152" fmla="*/ 684213 w 1198563"/>
                  <a:gd name="connsiteY152" fmla="*/ 0 h 1158876"/>
                  <a:gd name="connsiteX153" fmla="*/ 652463 w 1198563"/>
                  <a:gd name="connsiteY153" fmla="*/ 0 h 1158876"/>
                  <a:gd name="connsiteX154" fmla="*/ 652463 w 1198563"/>
                  <a:gd name="connsiteY154" fmla="*/ 218817 h 1158876"/>
                  <a:gd name="connsiteX155" fmla="*/ 632543 w 1198563"/>
                  <a:gd name="connsiteY155" fmla="*/ 238125 h 1158876"/>
                  <a:gd name="connsiteX156" fmla="*/ 449699 w 1198563"/>
                  <a:gd name="connsiteY156" fmla="*/ 213097 h 1158876"/>
                  <a:gd name="connsiteX157" fmla="*/ 439738 w 1198563"/>
                  <a:gd name="connsiteY157" fmla="*/ 191644 h 1158876"/>
                  <a:gd name="connsiteX158" fmla="*/ 461082 w 1198563"/>
                  <a:gd name="connsiteY158" fmla="*/ 150169 h 1158876"/>
                  <a:gd name="connsiteX159" fmla="*/ 622582 w 1198563"/>
                  <a:gd name="connsiteY159" fmla="*/ 2145 h 1158876"/>
                  <a:gd name="connsiteX160" fmla="*/ 652463 w 1198563"/>
                  <a:gd name="connsiteY160" fmla="*/ 0 h 115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198563" h="1158876">
                    <a:moveTo>
                      <a:pt x="165101" y="976313"/>
                    </a:moveTo>
                    <a:cubicBezTo>
                      <a:pt x="144339" y="976313"/>
                      <a:pt x="128588" y="992744"/>
                      <a:pt x="128588" y="1012746"/>
                    </a:cubicBezTo>
                    <a:cubicBezTo>
                      <a:pt x="128588" y="1027748"/>
                      <a:pt x="137179" y="1040607"/>
                      <a:pt x="149350" y="1046322"/>
                    </a:cubicBezTo>
                    <a:cubicBezTo>
                      <a:pt x="149350" y="1102044"/>
                      <a:pt x="149350" y="1102044"/>
                      <a:pt x="149350" y="1102044"/>
                    </a:cubicBezTo>
                    <a:cubicBezTo>
                      <a:pt x="149350" y="1103472"/>
                      <a:pt x="151498" y="1104901"/>
                      <a:pt x="153646" y="1104901"/>
                    </a:cubicBezTo>
                    <a:cubicBezTo>
                      <a:pt x="176556" y="1104901"/>
                      <a:pt x="176556" y="1104901"/>
                      <a:pt x="176556" y="1104901"/>
                    </a:cubicBezTo>
                    <a:cubicBezTo>
                      <a:pt x="178703" y="1104901"/>
                      <a:pt x="180135" y="1103472"/>
                      <a:pt x="180135" y="1102044"/>
                    </a:cubicBezTo>
                    <a:cubicBezTo>
                      <a:pt x="180135" y="1046322"/>
                      <a:pt x="180135" y="1046322"/>
                      <a:pt x="180135" y="1046322"/>
                    </a:cubicBezTo>
                    <a:cubicBezTo>
                      <a:pt x="193022" y="1040607"/>
                      <a:pt x="201613" y="1027748"/>
                      <a:pt x="201613" y="1012746"/>
                    </a:cubicBezTo>
                    <a:cubicBezTo>
                      <a:pt x="201613" y="992744"/>
                      <a:pt x="185147" y="976313"/>
                      <a:pt x="165101" y="976313"/>
                    </a:cubicBezTo>
                    <a:close/>
                    <a:moveTo>
                      <a:pt x="13102" y="922338"/>
                    </a:moveTo>
                    <a:cubicBezTo>
                      <a:pt x="317814" y="922338"/>
                      <a:pt x="317814" y="922338"/>
                      <a:pt x="317814" y="922338"/>
                    </a:cubicBezTo>
                    <a:cubicBezTo>
                      <a:pt x="319245" y="922338"/>
                      <a:pt x="320675" y="924476"/>
                      <a:pt x="320675" y="926613"/>
                    </a:cubicBezTo>
                    <a:cubicBezTo>
                      <a:pt x="320675" y="1154601"/>
                      <a:pt x="320675" y="1154601"/>
                      <a:pt x="320675" y="1154601"/>
                    </a:cubicBezTo>
                    <a:cubicBezTo>
                      <a:pt x="320675" y="1156739"/>
                      <a:pt x="319245" y="1158876"/>
                      <a:pt x="317814" y="1158876"/>
                    </a:cubicBezTo>
                    <a:cubicBezTo>
                      <a:pt x="13102" y="1158876"/>
                      <a:pt x="13102" y="1158876"/>
                      <a:pt x="13102" y="1158876"/>
                    </a:cubicBezTo>
                    <a:cubicBezTo>
                      <a:pt x="10956" y="1158876"/>
                      <a:pt x="9525" y="1156739"/>
                      <a:pt x="9525" y="1154601"/>
                    </a:cubicBezTo>
                    <a:cubicBezTo>
                      <a:pt x="9525" y="926613"/>
                      <a:pt x="9525" y="926613"/>
                      <a:pt x="9525" y="926613"/>
                    </a:cubicBezTo>
                    <a:cubicBezTo>
                      <a:pt x="9525" y="924476"/>
                      <a:pt x="10956" y="922338"/>
                      <a:pt x="13102" y="922338"/>
                    </a:cubicBezTo>
                    <a:close/>
                    <a:moveTo>
                      <a:pt x="407988" y="882650"/>
                    </a:moveTo>
                    <a:cubicBezTo>
                      <a:pt x="408696" y="882650"/>
                      <a:pt x="410111" y="883366"/>
                      <a:pt x="410819" y="883366"/>
                    </a:cubicBezTo>
                    <a:cubicBezTo>
                      <a:pt x="418603" y="898397"/>
                      <a:pt x="425680" y="914145"/>
                      <a:pt x="434172" y="928461"/>
                    </a:cubicBezTo>
                    <a:cubicBezTo>
                      <a:pt x="461064" y="976419"/>
                      <a:pt x="491495" y="1014356"/>
                      <a:pt x="525463" y="1042988"/>
                    </a:cubicBezTo>
                    <a:cubicBezTo>
                      <a:pt x="483710" y="1030820"/>
                      <a:pt x="444788" y="1014356"/>
                      <a:pt x="407988" y="992883"/>
                    </a:cubicBezTo>
                    <a:cubicBezTo>
                      <a:pt x="407988" y="992883"/>
                      <a:pt x="407988" y="992883"/>
                      <a:pt x="407988" y="887660"/>
                    </a:cubicBezTo>
                    <a:cubicBezTo>
                      <a:pt x="407988" y="886229"/>
                      <a:pt x="407988" y="884797"/>
                      <a:pt x="407988" y="882650"/>
                    </a:cubicBezTo>
                    <a:close/>
                    <a:moveTo>
                      <a:pt x="954902" y="869950"/>
                    </a:moveTo>
                    <a:cubicBezTo>
                      <a:pt x="985641" y="881390"/>
                      <a:pt x="1014951" y="894261"/>
                      <a:pt x="1041401" y="908562"/>
                    </a:cubicBezTo>
                    <a:cubicBezTo>
                      <a:pt x="977778" y="970770"/>
                      <a:pt x="899142" y="1017962"/>
                      <a:pt x="811213" y="1042988"/>
                    </a:cubicBezTo>
                    <a:cubicBezTo>
                      <a:pt x="844812" y="1014387"/>
                      <a:pt x="876266" y="976490"/>
                      <a:pt x="903431" y="928583"/>
                    </a:cubicBezTo>
                    <a:cubicBezTo>
                      <a:pt x="911295" y="914282"/>
                      <a:pt x="919159" y="898551"/>
                      <a:pt x="926307" y="883536"/>
                    </a:cubicBezTo>
                    <a:cubicBezTo>
                      <a:pt x="937745" y="882820"/>
                      <a:pt x="947753" y="877815"/>
                      <a:pt x="954902" y="869950"/>
                    </a:cubicBezTo>
                    <a:close/>
                    <a:moveTo>
                      <a:pt x="704201" y="825500"/>
                    </a:moveTo>
                    <a:cubicBezTo>
                      <a:pt x="767733" y="827637"/>
                      <a:pt x="829837" y="836899"/>
                      <a:pt x="886944" y="851149"/>
                    </a:cubicBezTo>
                    <a:cubicBezTo>
                      <a:pt x="888372" y="858986"/>
                      <a:pt x="891941" y="866110"/>
                      <a:pt x="896938" y="871810"/>
                    </a:cubicBezTo>
                    <a:cubicBezTo>
                      <a:pt x="890514" y="886772"/>
                      <a:pt x="883375" y="900309"/>
                      <a:pt x="875523" y="913845"/>
                    </a:cubicBezTo>
                    <a:cubicBezTo>
                      <a:pt x="830551" y="992929"/>
                      <a:pt x="774157" y="1043514"/>
                      <a:pt x="714195" y="1060613"/>
                    </a:cubicBezTo>
                    <a:cubicBezTo>
                      <a:pt x="704201" y="1061326"/>
                      <a:pt x="694207" y="1062038"/>
                      <a:pt x="684213" y="1062038"/>
                    </a:cubicBezTo>
                    <a:cubicBezTo>
                      <a:pt x="684213" y="1062038"/>
                      <a:pt x="684213" y="1062038"/>
                      <a:pt x="684213" y="845449"/>
                    </a:cubicBezTo>
                    <a:cubicBezTo>
                      <a:pt x="692779" y="841174"/>
                      <a:pt x="699918" y="834049"/>
                      <a:pt x="704201" y="825500"/>
                    </a:cubicBezTo>
                    <a:close/>
                    <a:moveTo>
                      <a:pt x="632543" y="825500"/>
                    </a:moveTo>
                    <a:cubicBezTo>
                      <a:pt x="636100" y="834049"/>
                      <a:pt x="643214" y="841174"/>
                      <a:pt x="652463" y="845449"/>
                    </a:cubicBezTo>
                    <a:cubicBezTo>
                      <a:pt x="652463" y="845449"/>
                      <a:pt x="652463" y="845449"/>
                      <a:pt x="652463" y="1062038"/>
                    </a:cubicBezTo>
                    <a:cubicBezTo>
                      <a:pt x="642503" y="1062038"/>
                      <a:pt x="632543" y="1061326"/>
                      <a:pt x="622582" y="1060613"/>
                    </a:cubicBezTo>
                    <a:cubicBezTo>
                      <a:pt x="562108" y="1043514"/>
                      <a:pt x="505904" y="992929"/>
                      <a:pt x="461082" y="913845"/>
                    </a:cubicBezTo>
                    <a:cubicBezTo>
                      <a:pt x="453256" y="900309"/>
                      <a:pt x="446141" y="886772"/>
                      <a:pt x="439738" y="871810"/>
                    </a:cubicBezTo>
                    <a:cubicBezTo>
                      <a:pt x="445430" y="866110"/>
                      <a:pt x="448987" y="858986"/>
                      <a:pt x="449699" y="851149"/>
                    </a:cubicBezTo>
                    <a:cubicBezTo>
                      <a:pt x="507326" y="836899"/>
                      <a:pt x="568512" y="827637"/>
                      <a:pt x="632543" y="825500"/>
                    </a:cubicBezTo>
                    <a:close/>
                    <a:moveTo>
                      <a:pt x="164742" y="647700"/>
                    </a:moveTo>
                    <a:cubicBezTo>
                      <a:pt x="165458" y="647700"/>
                      <a:pt x="165458" y="647700"/>
                      <a:pt x="165458" y="647700"/>
                    </a:cubicBezTo>
                    <a:cubicBezTo>
                      <a:pt x="166891" y="647700"/>
                      <a:pt x="206286" y="648412"/>
                      <a:pt x="246397" y="667643"/>
                    </a:cubicBezTo>
                    <a:cubicBezTo>
                      <a:pt x="284359" y="686874"/>
                      <a:pt x="330200" y="726761"/>
                      <a:pt x="330200" y="809383"/>
                    </a:cubicBezTo>
                    <a:cubicBezTo>
                      <a:pt x="330200" y="835025"/>
                      <a:pt x="330200" y="835025"/>
                      <a:pt x="330200" y="835025"/>
                    </a:cubicBezTo>
                    <a:cubicBezTo>
                      <a:pt x="272899" y="835025"/>
                      <a:pt x="272899" y="835025"/>
                      <a:pt x="272899" y="835025"/>
                    </a:cubicBezTo>
                    <a:cubicBezTo>
                      <a:pt x="272899" y="809383"/>
                      <a:pt x="272899" y="809383"/>
                      <a:pt x="272899" y="809383"/>
                    </a:cubicBezTo>
                    <a:cubicBezTo>
                      <a:pt x="272899" y="766648"/>
                      <a:pt x="256425" y="736733"/>
                      <a:pt x="222044" y="719638"/>
                    </a:cubicBezTo>
                    <a:cubicBezTo>
                      <a:pt x="196258" y="706105"/>
                      <a:pt x="168323" y="704681"/>
                      <a:pt x="165458" y="704681"/>
                    </a:cubicBezTo>
                    <a:cubicBezTo>
                      <a:pt x="161877" y="704681"/>
                      <a:pt x="134659" y="706105"/>
                      <a:pt x="108157" y="719638"/>
                    </a:cubicBezTo>
                    <a:cubicBezTo>
                      <a:pt x="74492" y="736733"/>
                      <a:pt x="57302" y="766648"/>
                      <a:pt x="57302" y="809383"/>
                    </a:cubicBezTo>
                    <a:cubicBezTo>
                      <a:pt x="57302" y="835025"/>
                      <a:pt x="57302" y="835025"/>
                      <a:pt x="57302" y="835025"/>
                    </a:cubicBezTo>
                    <a:cubicBezTo>
                      <a:pt x="0" y="835025"/>
                      <a:pt x="0" y="835025"/>
                      <a:pt x="0" y="835025"/>
                    </a:cubicBezTo>
                    <a:cubicBezTo>
                      <a:pt x="0" y="809383"/>
                      <a:pt x="0" y="809383"/>
                      <a:pt x="0" y="809383"/>
                    </a:cubicBezTo>
                    <a:cubicBezTo>
                      <a:pt x="0" y="726761"/>
                      <a:pt x="45841" y="686874"/>
                      <a:pt x="84520" y="667643"/>
                    </a:cubicBezTo>
                    <a:cubicBezTo>
                      <a:pt x="123915" y="648412"/>
                      <a:pt x="163310" y="647700"/>
                      <a:pt x="164742" y="647700"/>
                    </a:cubicBezTo>
                    <a:close/>
                    <a:moveTo>
                      <a:pt x="1016691" y="547688"/>
                    </a:moveTo>
                    <a:cubicBezTo>
                      <a:pt x="1016691" y="547688"/>
                      <a:pt x="1016691" y="547688"/>
                      <a:pt x="1198563" y="547688"/>
                    </a:cubicBezTo>
                    <a:cubicBezTo>
                      <a:pt x="1194997" y="677521"/>
                      <a:pt x="1144358" y="795228"/>
                      <a:pt x="1063050" y="885826"/>
                    </a:cubicBezTo>
                    <a:cubicBezTo>
                      <a:pt x="1033095" y="868705"/>
                      <a:pt x="999573" y="853724"/>
                      <a:pt x="964625" y="841597"/>
                    </a:cubicBezTo>
                    <a:cubicBezTo>
                      <a:pt x="963912" y="831610"/>
                      <a:pt x="958919" y="823049"/>
                      <a:pt x="952500" y="816629"/>
                    </a:cubicBezTo>
                    <a:cubicBezTo>
                      <a:pt x="977463" y="741725"/>
                      <a:pt x="992441" y="656834"/>
                      <a:pt x="996007" y="568376"/>
                    </a:cubicBezTo>
                    <a:cubicBezTo>
                      <a:pt x="1005279" y="564809"/>
                      <a:pt x="1012411" y="556962"/>
                      <a:pt x="1016691" y="547688"/>
                    </a:cubicBezTo>
                    <a:close/>
                    <a:moveTo>
                      <a:pt x="704233" y="547688"/>
                    </a:moveTo>
                    <a:cubicBezTo>
                      <a:pt x="704233" y="547688"/>
                      <a:pt x="704233" y="547688"/>
                      <a:pt x="945182" y="547688"/>
                    </a:cubicBezTo>
                    <a:cubicBezTo>
                      <a:pt x="949472" y="556926"/>
                      <a:pt x="956621" y="564033"/>
                      <a:pt x="965201" y="567586"/>
                    </a:cubicBezTo>
                    <a:cubicBezTo>
                      <a:pt x="961626" y="652151"/>
                      <a:pt x="948042" y="733164"/>
                      <a:pt x="923732" y="804938"/>
                    </a:cubicBezTo>
                    <a:cubicBezTo>
                      <a:pt x="912293" y="805649"/>
                      <a:pt x="902283" y="811334"/>
                      <a:pt x="895133" y="819151"/>
                    </a:cubicBezTo>
                    <a:cubicBezTo>
                      <a:pt x="835789" y="804228"/>
                      <a:pt x="771441" y="795700"/>
                      <a:pt x="704233" y="792857"/>
                    </a:cubicBezTo>
                    <a:cubicBezTo>
                      <a:pt x="700658" y="783619"/>
                      <a:pt x="693508" y="776513"/>
                      <a:pt x="684213" y="772249"/>
                    </a:cubicBezTo>
                    <a:cubicBezTo>
                      <a:pt x="684213" y="772249"/>
                      <a:pt x="684213" y="772249"/>
                      <a:pt x="684213" y="568296"/>
                    </a:cubicBezTo>
                    <a:cubicBezTo>
                      <a:pt x="692793" y="564033"/>
                      <a:pt x="699943" y="556926"/>
                      <a:pt x="704233" y="547688"/>
                    </a:cubicBezTo>
                    <a:close/>
                    <a:moveTo>
                      <a:pt x="392259" y="547688"/>
                    </a:moveTo>
                    <a:cubicBezTo>
                      <a:pt x="392259" y="547688"/>
                      <a:pt x="392259" y="547688"/>
                      <a:pt x="631846" y="547688"/>
                    </a:cubicBezTo>
                    <a:cubicBezTo>
                      <a:pt x="636112" y="556926"/>
                      <a:pt x="643221" y="564033"/>
                      <a:pt x="652463" y="568296"/>
                    </a:cubicBezTo>
                    <a:cubicBezTo>
                      <a:pt x="652463" y="568296"/>
                      <a:pt x="652463" y="568296"/>
                      <a:pt x="652463" y="772249"/>
                    </a:cubicBezTo>
                    <a:cubicBezTo>
                      <a:pt x="643221" y="776513"/>
                      <a:pt x="635401" y="783619"/>
                      <a:pt x="631846" y="792857"/>
                    </a:cubicBezTo>
                    <a:cubicBezTo>
                      <a:pt x="565728" y="795700"/>
                      <a:pt x="501744" y="804228"/>
                      <a:pt x="442025" y="819151"/>
                    </a:cubicBezTo>
                    <a:cubicBezTo>
                      <a:pt x="434915" y="811334"/>
                      <a:pt x="424962" y="805649"/>
                      <a:pt x="414298" y="804938"/>
                    </a:cubicBezTo>
                    <a:cubicBezTo>
                      <a:pt x="390126" y="733164"/>
                      <a:pt x="375907" y="652151"/>
                      <a:pt x="373063" y="567586"/>
                    </a:cubicBezTo>
                    <a:cubicBezTo>
                      <a:pt x="381595" y="564033"/>
                      <a:pt x="388704" y="556926"/>
                      <a:pt x="392259" y="547688"/>
                    </a:cubicBezTo>
                    <a:close/>
                    <a:moveTo>
                      <a:pt x="138113" y="547688"/>
                    </a:moveTo>
                    <a:cubicBezTo>
                      <a:pt x="138113" y="547688"/>
                      <a:pt x="138113" y="547688"/>
                      <a:pt x="319799" y="547688"/>
                    </a:cubicBezTo>
                    <a:cubicBezTo>
                      <a:pt x="324091" y="556944"/>
                      <a:pt x="331244" y="564777"/>
                      <a:pt x="341258" y="568337"/>
                    </a:cubicBezTo>
                    <a:cubicBezTo>
                      <a:pt x="344119" y="656630"/>
                      <a:pt x="359141" y="741363"/>
                      <a:pt x="384176" y="816128"/>
                    </a:cubicBezTo>
                    <a:cubicBezTo>
                      <a:pt x="378454" y="821824"/>
                      <a:pt x="374162" y="829656"/>
                      <a:pt x="372731" y="838201"/>
                    </a:cubicBezTo>
                    <a:cubicBezTo>
                      <a:pt x="368440" y="836065"/>
                      <a:pt x="364148" y="835353"/>
                      <a:pt x="359141" y="834641"/>
                    </a:cubicBezTo>
                    <a:cubicBezTo>
                      <a:pt x="359141" y="834641"/>
                      <a:pt x="359141" y="834641"/>
                      <a:pt x="359141" y="809007"/>
                    </a:cubicBezTo>
                    <a:cubicBezTo>
                      <a:pt x="359141" y="732819"/>
                      <a:pt x="323376" y="673007"/>
                      <a:pt x="258999" y="640965"/>
                    </a:cubicBezTo>
                    <a:cubicBezTo>
                      <a:pt x="215366" y="619604"/>
                      <a:pt x="173163" y="618180"/>
                      <a:pt x="165295" y="618180"/>
                    </a:cubicBezTo>
                    <a:cubicBezTo>
                      <a:pt x="165295" y="618180"/>
                      <a:pt x="165295" y="618180"/>
                      <a:pt x="164579" y="618180"/>
                    </a:cubicBezTo>
                    <a:cubicBezTo>
                      <a:pt x="161718" y="618180"/>
                      <a:pt x="154565" y="618180"/>
                      <a:pt x="144551" y="619604"/>
                    </a:cubicBezTo>
                    <a:cubicBezTo>
                      <a:pt x="140974" y="596107"/>
                      <a:pt x="138829" y="571897"/>
                      <a:pt x="138113" y="547688"/>
                    </a:cubicBezTo>
                    <a:close/>
                    <a:moveTo>
                      <a:pt x="895133" y="242888"/>
                    </a:moveTo>
                    <a:cubicBezTo>
                      <a:pt x="902283" y="251465"/>
                      <a:pt x="912293" y="257184"/>
                      <a:pt x="923732" y="257898"/>
                    </a:cubicBezTo>
                    <a:cubicBezTo>
                      <a:pt x="948042" y="330092"/>
                      <a:pt x="961626" y="410864"/>
                      <a:pt x="965201" y="495924"/>
                    </a:cubicBezTo>
                    <a:cubicBezTo>
                      <a:pt x="956621" y="500212"/>
                      <a:pt x="949472" y="507360"/>
                      <a:pt x="945182" y="515938"/>
                    </a:cubicBezTo>
                    <a:cubicBezTo>
                      <a:pt x="945182" y="515938"/>
                      <a:pt x="945182" y="515938"/>
                      <a:pt x="704233" y="515938"/>
                    </a:cubicBezTo>
                    <a:cubicBezTo>
                      <a:pt x="699943" y="507360"/>
                      <a:pt x="692793" y="500212"/>
                      <a:pt x="684213" y="495924"/>
                    </a:cubicBezTo>
                    <a:cubicBezTo>
                      <a:pt x="684213" y="495924"/>
                      <a:pt x="684213" y="495924"/>
                      <a:pt x="684213" y="290779"/>
                    </a:cubicBezTo>
                    <a:cubicBezTo>
                      <a:pt x="693508" y="286490"/>
                      <a:pt x="700658" y="279342"/>
                      <a:pt x="704233" y="269335"/>
                    </a:cubicBezTo>
                    <a:cubicBezTo>
                      <a:pt x="771441" y="267191"/>
                      <a:pt x="835789" y="258613"/>
                      <a:pt x="895133" y="242888"/>
                    </a:cubicBezTo>
                    <a:close/>
                    <a:moveTo>
                      <a:pt x="442025" y="242888"/>
                    </a:moveTo>
                    <a:cubicBezTo>
                      <a:pt x="501744" y="258613"/>
                      <a:pt x="565728" y="267191"/>
                      <a:pt x="631846" y="269335"/>
                    </a:cubicBezTo>
                    <a:cubicBezTo>
                      <a:pt x="635401" y="279342"/>
                      <a:pt x="643221" y="286490"/>
                      <a:pt x="652463" y="290779"/>
                    </a:cubicBezTo>
                    <a:cubicBezTo>
                      <a:pt x="652463" y="290779"/>
                      <a:pt x="652463" y="290779"/>
                      <a:pt x="652463" y="495924"/>
                    </a:cubicBezTo>
                    <a:cubicBezTo>
                      <a:pt x="643221" y="500212"/>
                      <a:pt x="636112" y="507360"/>
                      <a:pt x="631846" y="515938"/>
                    </a:cubicBezTo>
                    <a:cubicBezTo>
                      <a:pt x="631846" y="515938"/>
                      <a:pt x="631846" y="515938"/>
                      <a:pt x="392259" y="515938"/>
                    </a:cubicBezTo>
                    <a:cubicBezTo>
                      <a:pt x="388704" y="507360"/>
                      <a:pt x="381595" y="500212"/>
                      <a:pt x="373063" y="495924"/>
                    </a:cubicBezTo>
                    <a:cubicBezTo>
                      <a:pt x="375907" y="410864"/>
                      <a:pt x="390126" y="330092"/>
                      <a:pt x="414298" y="257898"/>
                    </a:cubicBezTo>
                    <a:cubicBezTo>
                      <a:pt x="424962" y="257184"/>
                      <a:pt x="434915" y="251465"/>
                      <a:pt x="442025" y="242888"/>
                    </a:cubicBezTo>
                    <a:close/>
                    <a:moveTo>
                      <a:pt x="1063050" y="177800"/>
                    </a:moveTo>
                    <a:cubicBezTo>
                      <a:pt x="1144358" y="267875"/>
                      <a:pt x="1194997" y="386545"/>
                      <a:pt x="1198563" y="515938"/>
                    </a:cubicBezTo>
                    <a:cubicBezTo>
                      <a:pt x="1198563" y="515938"/>
                      <a:pt x="1198563" y="515938"/>
                      <a:pt x="1016691" y="515938"/>
                    </a:cubicBezTo>
                    <a:cubicBezTo>
                      <a:pt x="1012411" y="506644"/>
                      <a:pt x="1005279" y="499496"/>
                      <a:pt x="996007" y="495921"/>
                    </a:cubicBezTo>
                    <a:cubicBezTo>
                      <a:pt x="992441" y="407276"/>
                      <a:pt x="977463" y="322206"/>
                      <a:pt x="952500" y="247143"/>
                    </a:cubicBezTo>
                    <a:cubicBezTo>
                      <a:pt x="958919" y="240709"/>
                      <a:pt x="963912" y="232131"/>
                      <a:pt x="964625" y="222122"/>
                    </a:cubicBezTo>
                    <a:cubicBezTo>
                      <a:pt x="999573" y="209969"/>
                      <a:pt x="1033095" y="194957"/>
                      <a:pt x="1063050" y="177800"/>
                    </a:cubicBezTo>
                    <a:close/>
                    <a:moveTo>
                      <a:pt x="273305" y="177800"/>
                    </a:moveTo>
                    <a:cubicBezTo>
                      <a:pt x="303347" y="194957"/>
                      <a:pt x="336966" y="209969"/>
                      <a:pt x="372731" y="222122"/>
                    </a:cubicBezTo>
                    <a:cubicBezTo>
                      <a:pt x="373447" y="232131"/>
                      <a:pt x="377739" y="240709"/>
                      <a:pt x="384176" y="247143"/>
                    </a:cubicBezTo>
                    <a:cubicBezTo>
                      <a:pt x="359141" y="322206"/>
                      <a:pt x="344119" y="407276"/>
                      <a:pt x="341258" y="495921"/>
                    </a:cubicBezTo>
                    <a:cubicBezTo>
                      <a:pt x="331244" y="499496"/>
                      <a:pt x="324091" y="506644"/>
                      <a:pt x="319799" y="515938"/>
                    </a:cubicBezTo>
                    <a:cubicBezTo>
                      <a:pt x="319799" y="515938"/>
                      <a:pt x="319799" y="515938"/>
                      <a:pt x="138113" y="515938"/>
                    </a:cubicBezTo>
                    <a:cubicBezTo>
                      <a:pt x="141690" y="386545"/>
                      <a:pt x="192476" y="267875"/>
                      <a:pt x="273305" y="177800"/>
                    </a:cubicBezTo>
                    <a:close/>
                    <a:moveTo>
                      <a:pt x="811213" y="19050"/>
                    </a:moveTo>
                    <a:cubicBezTo>
                      <a:pt x="899142" y="44076"/>
                      <a:pt x="977778" y="91268"/>
                      <a:pt x="1041401" y="154191"/>
                    </a:cubicBezTo>
                    <a:cubicBezTo>
                      <a:pt x="1014951" y="168492"/>
                      <a:pt x="985641" y="181362"/>
                      <a:pt x="954902" y="192088"/>
                    </a:cubicBezTo>
                    <a:cubicBezTo>
                      <a:pt x="947753" y="184223"/>
                      <a:pt x="937745" y="179217"/>
                      <a:pt x="926307" y="179217"/>
                    </a:cubicBezTo>
                    <a:cubicBezTo>
                      <a:pt x="919159" y="163487"/>
                      <a:pt x="911295" y="148471"/>
                      <a:pt x="903431" y="134170"/>
                    </a:cubicBezTo>
                    <a:cubicBezTo>
                      <a:pt x="876266" y="86263"/>
                      <a:pt x="844812" y="46936"/>
                      <a:pt x="811213" y="19050"/>
                    </a:cubicBezTo>
                    <a:close/>
                    <a:moveTo>
                      <a:pt x="525463" y="19050"/>
                    </a:moveTo>
                    <a:cubicBezTo>
                      <a:pt x="491256" y="46936"/>
                      <a:pt x="460612" y="86263"/>
                      <a:pt x="433531" y="134170"/>
                    </a:cubicBezTo>
                    <a:cubicBezTo>
                      <a:pt x="424979" y="148471"/>
                      <a:pt x="417852" y="163487"/>
                      <a:pt x="410013" y="179217"/>
                    </a:cubicBezTo>
                    <a:cubicBezTo>
                      <a:pt x="399323" y="179217"/>
                      <a:pt x="388633" y="184223"/>
                      <a:pt x="381507" y="192088"/>
                    </a:cubicBezTo>
                    <a:cubicBezTo>
                      <a:pt x="350862" y="181362"/>
                      <a:pt x="322356" y="168492"/>
                      <a:pt x="295275" y="154191"/>
                    </a:cubicBezTo>
                    <a:cubicBezTo>
                      <a:pt x="358702" y="91268"/>
                      <a:pt x="437094" y="44076"/>
                      <a:pt x="525463" y="19050"/>
                    </a:cubicBezTo>
                    <a:close/>
                    <a:moveTo>
                      <a:pt x="684213" y="0"/>
                    </a:moveTo>
                    <a:cubicBezTo>
                      <a:pt x="694207" y="715"/>
                      <a:pt x="704201" y="715"/>
                      <a:pt x="714195" y="2145"/>
                    </a:cubicBezTo>
                    <a:cubicBezTo>
                      <a:pt x="774157" y="18592"/>
                      <a:pt x="830551" y="69364"/>
                      <a:pt x="875523" y="150169"/>
                    </a:cubicBezTo>
                    <a:cubicBezTo>
                      <a:pt x="883375" y="163040"/>
                      <a:pt x="890514" y="177342"/>
                      <a:pt x="896938" y="191644"/>
                    </a:cubicBezTo>
                    <a:cubicBezTo>
                      <a:pt x="891941" y="197365"/>
                      <a:pt x="888372" y="205231"/>
                      <a:pt x="886944" y="213097"/>
                    </a:cubicBezTo>
                    <a:cubicBezTo>
                      <a:pt x="829837" y="227399"/>
                      <a:pt x="767733" y="235980"/>
                      <a:pt x="704201" y="238125"/>
                    </a:cubicBezTo>
                    <a:cubicBezTo>
                      <a:pt x="699918" y="229544"/>
                      <a:pt x="692779" y="223108"/>
                      <a:pt x="684213" y="218817"/>
                    </a:cubicBezTo>
                    <a:cubicBezTo>
                      <a:pt x="684213" y="218817"/>
                      <a:pt x="684213" y="218817"/>
                      <a:pt x="684213" y="0"/>
                    </a:cubicBezTo>
                    <a:close/>
                    <a:moveTo>
                      <a:pt x="652463" y="0"/>
                    </a:moveTo>
                    <a:cubicBezTo>
                      <a:pt x="652463" y="0"/>
                      <a:pt x="652463" y="0"/>
                      <a:pt x="652463" y="218817"/>
                    </a:cubicBezTo>
                    <a:cubicBezTo>
                      <a:pt x="643214" y="223108"/>
                      <a:pt x="636100" y="229544"/>
                      <a:pt x="632543" y="238125"/>
                    </a:cubicBezTo>
                    <a:cubicBezTo>
                      <a:pt x="568512" y="235980"/>
                      <a:pt x="507326" y="227399"/>
                      <a:pt x="449699" y="213097"/>
                    </a:cubicBezTo>
                    <a:cubicBezTo>
                      <a:pt x="448987" y="205231"/>
                      <a:pt x="445430" y="197365"/>
                      <a:pt x="439738" y="191644"/>
                    </a:cubicBezTo>
                    <a:cubicBezTo>
                      <a:pt x="446141" y="177342"/>
                      <a:pt x="453256" y="163040"/>
                      <a:pt x="461082" y="150169"/>
                    </a:cubicBezTo>
                    <a:cubicBezTo>
                      <a:pt x="505904" y="69364"/>
                      <a:pt x="562108" y="18592"/>
                      <a:pt x="622582" y="2145"/>
                    </a:cubicBezTo>
                    <a:cubicBezTo>
                      <a:pt x="632543" y="715"/>
                      <a:pt x="642503" y="715"/>
                      <a:pt x="652463"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12" name="Group 111">
            <a:extLst>
              <a:ext uri="{FF2B5EF4-FFF2-40B4-BE49-F238E27FC236}">
                <a16:creationId xmlns:a16="http://schemas.microsoft.com/office/drawing/2014/main" id="{EA9F9FB5-9911-458A-A0C4-06B5A0D433D3}"/>
              </a:ext>
            </a:extLst>
          </p:cNvPr>
          <p:cNvGrpSpPr>
            <a:grpSpLocks noChangeAspect="1"/>
          </p:cNvGrpSpPr>
          <p:nvPr/>
        </p:nvGrpSpPr>
        <p:grpSpPr>
          <a:xfrm>
            <a:off x="6316034" y="2176247"/>
            <a:ext cx="1035407" cy="1035407"/>
            <a:chOff x="5273675" y="2514600"/>
            <a:chExt cx="1646238" cy="1646238"/>
          </a:xfrm>
        </p:grpSpPr>
        <p:sp>
          <p:nvSpPr>
            <p:cNvPr id="113" name="AutoShape 23">
              <a:extLst>
                <a:ext uri="{FF2B5EF4-FFF2-40B4-BE49-F238E27FC236}">
                  <a16:creationId xmlns:a16="http://schemas.microsoft.com/office/drawing/2014/main" id="{C3E1E58C-4DC9-4AF1-AC0A-1CF84FE04190}"/>
                </a:ext>
              </a:extLst>
            </p:cNvPr>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oup 113">
              <a:extLst>
                <a:ext uri="{FF2B5EF4-FFF2-40B4-BE49-F238E27FC236}">
                  <a16:creationId xmlns:a16="http://schemas.microsoft.com/office/drawing/2014/main" id="{2CFF56E9-F8AB-41D1-AEE3-0F869043208E}"/>
                </a:ext>
              </a:extLst>
            </p:cNvPr>
            <p:cNvGrpSpPr/>
            <p:nvPr/>
          </p:nvGrpSpPr>
          <p:grpSpPr>
            <a:xfrm>
              <a:off x="5334714" y="2797174"/>
              <a:ext cx="1514633" cy="1085850"/>
              <a:chOff x="5334714" y="2797174"/>
              <a:chExt cx="1514633" cy="1085850"/>
            </a:xfrm>
          </p:grpSpPr>
          <p:sp>
            <p:nvSpPr>
              <p:cNvPr id="115" name="Freeform 5">
                <a:extLst>
                  <a:ext uri="{FF2B5EF4-FFF2-40B4-BE49-F238E27FC236}">
                    <a16:creationId xmlns:a16="http://schemas.microsoft.com/office/drawing/2014/main" id="{288FAB0D-A574-4512-A937-9D23C0D3B03B}"/>
                  </a:ext>
                </a:extLst>
              </p:cNvPr>
              <p:cNvSpPr>
                <a:spLocks/>
              </p:cNvSpPr>
              <p:nvPr/>
            </p:nvSpPr>
            <p:spPr bwMode="auto">
              <a:xfrm>
                <a:off x="5334714" y="2797174"/>
                <a:ext cx="1514633" cy="1085850"/>
              </a:xfrm>
              <a:custGeom>
                <a:avLst/>
                <a:gdLst>
                  <a:gd name="connsiteX0" fmla="*/ 964541 w 1514633"/>
                  <a:gd name="connsiteY0" fmla="*/ 881063 h 1085850"/>
                  <a:gd name="connsiteX1" fmla="*/ 1498896 w 1514633"/>
                  <a:gd name="connsiteY1" fmla="*/ 881063 h 1085850"/>
                  <a:gd name="connsiteX2" fmla="*/ 1511773 w 1514633"/>
                  <a:gd name="connsiteY2" fmla="*/ 887505 h 1085850"/>
                  <a:gd name="connsiteX3" fmla="*/ 1513919 w 1514633"/>
                  <a:gd name="connsiteY3" fmla="*/ 901820 h 1085850"/>
                  <a:gd name="connsiteX4" fmla="*/ 1485305 w 1514633"/>
                  <a:gd name="connsiteY4" fmla="*/ 993436 h 1085850"/>
                  <a:gd name="connsiteX5" fmla="*/ 1470283 w 1514633"/>
                  <a:gd name="connsiteY5" fmla="*/ 1004888 h 1085850"/>
                  <a:gd name="connsiteX6" fmla="*/ 805736 w 1514633"/>
                  <a:gd name="connsiteY6" fmla="*/ 1004888 h 1085850"/>
                  <a:gd name="connsiteX7" fmla="*/ 805736 w 1514633"/>
                  <a:gd name="connsiteY7" fmla="*/ 972679 h 1085850"/>
                  <a:gd name="connsiteX8" fmla="*/ 1458838 w 1514633"/>
                  <a:gd name="connsiteY8" fmla="*/ 972679 h 1085850"/>
                  <a:gd name="connsiteX9" fmla="*/ 1477436 w 1514633"/>
                  <a:gd name="connsiteY9" fmla="*/ 912556 h 1085850"/>
                  <a:gd name="connsiteX10" fmla="*/ 980278 w 1514633"/>
                  <a:gd name="connsiteY10" fmla="*/ 912556 h 1085850"/>
                  <a:gd name="connsiteX11" fmla="*/ 980278 w 1514633"/>
                  <a:gd name="connsiteY11" fmla="*/ 924008 h 1085850"/>
                  <a:gd name="connsiteX12" fmla="*/ 964541 w 1514633"/>
                  <a:gd name="connsiteY12" fmla="*/ 939755 h 1085850"/>
                  <a:gd name="connsiteX13" fmla="*/ 805736 w 1514633"/>
                  <a:gd name="connsiteY13" fmla="*/ 939755 h 1085850"/>
                  <a:gd name="connsiteX14" fmla="*/ 805736 w 1514633"/>
                  <a:gd name="connsiteY14" fmla="*/ 908262 h 1085850"/>
                  <a:gd name="connsiteX15" fmla="*/ 948803 w 1514633"/>
                  <a:gd name="connsiteY15" fmla="*/ 908262 h 1085850"/>
                  <a:gd name="connsiteX16" fmla="*/ 948803 w 1514633"/>
                  <a:gd name="connsiteY16" fmla="*/ 896810 h 1085850"/>
                  <a:gd name="connsiteX17" fmla="*/ 964541 w 1514633"/>
                  <a:gd name="connsiteY17" fmla="*/ 881063 h 1085850"/>
                  <a:gd name="connsiteX18" fmla="*/ 15726 w 1514633"/>
                  <a:gd name="connsiteY18" fmla="*/ 881063 h 1085850"/>
                  <a:gd name="connsiteX19" fmla="*/ 549662 w 1514633"/>
                  <a:gd name="connsiteY19" fmla="*/ 881063 h 1085850"/>
                  <a:gd name="connsiteX20" fmla="*/ 565387 w 1514633"/>
                  <a:gd name="connsiteY20" fmla="*/ 896810 h 1085850"/>
                  <a:gd name="connsiteX21" fmla="*/ 565387 w 1514633"/>
                  <a:gd name="connsiteY21" fmla="*/ 908262 h 1085850"/>
                  <a:gd name="connsiteX22" fmla="*/ 710486 w 1514633"/>
                  <a:gd name="connsiteY22" fmla="*/ 908262 h 1085850"/>
                  <a:gd name="connsiteX23" fmla="*/ 710486 w 1514633"/>
                  <a:gd name="connsiteY23" fmla="*/ 939755 h 1085850"/>
                  <a:gd name="connsiteX24" fmla="*/ 549662 w 1514633"/>
                  <a:gd name="connsiteY24" fmla="*/ 939755 h 1085850"/>
                  <a:gd name="connsiteX25" fmla="*/ 533937 w 1514633"/>
                  <a:gd name="connsiteY25" fmla="*/ 924008 h 1085850"/>
                  <a:gd name="connsiteX26" fmla="*/ 533937 w 1514633"/>
                  <a:gd name="connsiteY26" fmla="*/ 912556 h 1085850"/>
                  <a:gd name="connsiteX27" fmla="*/ 37169 w 1514633"/>
                  <a:gd name="connsiteY27" fmla="*/ 912556 h 1085850"/>
                  <a:gd name="connsiteX28" fmla="*/ 55753 w 1514633"/>
                  <a:gd name="connsiteY28" fmla="*/ 972679 h 1085850"/>
                  <a:gd name="connsiteX29" fmla="*/ 710486 w 1514633"/>
                  <a:gd name="connsiteY29" fmla="*/ 972679 h 1085850"/>
                  <a:gd name="connsiteX30" fmla="*/ 710486 w 1514633"/>
                  <a:gd name="connsiteY30" fmla="*/ 1004888 h 1085850"/>
                  <a:gd name="connsiteX31" fmla="*/ 44317 w 1514633"/>
                  <a:gd name="connsiteY31" fmla="*/ 1004888 h 1085850"/>
                  <a:gd name="connsiteX32" fmla="*/ 29307 w 1514633"/>
                  <a:gd name="connsiteY32" fmla="*/ 993436 h 1085850"/>
                  <a:gd name="connsiteX33" fmla="*/ 716 w 1514633"/>
                  <a:gd name="connsiteY33" fmla="*/ 901820 h 1085850"/>
                  <a:gd name="connsiteX34" fmla="*/ 2860 w 1514633"/>
                  <a:gd name="connsiteY34" fmla="*/ 887505 h 1085850"/>
                  <a:gd name="connsiteX35" fmla="*/ 15726 w 1514633"/>
                  <a:gd name="connsiteY35" fmla="*/ 881063 h 1085850"/>
                  <a:gd name="connsiteX36" fmla="*/ 808595 w 1514633"/>
                  <a:gd name="connsiteY36" fmla="*/ 80963 h 1085850"/>
                  <a:gd name="connsiteX37" fmla="*/ 1399614 w 1514633"/>
                  <a:gd name="connsiteY37" fmla="*/ 80963 h 1085850"/>
                  <a:gd name="connsiteX38" fmla="*/ 1415336 w 1514633"/>
                  <a:gd name="connsiteY38" fmla="*/ 96658 h 1085850"/>
                  <a:gd name="connsiteX39" fmla="*/ 1412478 w 1514633"/>
                  <a:gd name="connsiteY39" fmla="*/ 833618 h 1085850"/>
                  <a:gd name="connsiteX40" fmla="*/ 1396755 w 1514633"/>
                  <a:gd name="connsiteY40" fmla="*/ 849313 h 1085850"/>
                  <a:gd name="connsiteX41" fmla="*/ 805736 w 1514633"/>
                  <a:gd name="connsiteY41" fmla="*/ 849313 h 1085850"/>
                  <a:gd name="connsiteX42" fmla="*/ 805736 w 1514633"/>
                  <a:gd name="connsiteY42" fmla="*/ 817923 h 1085850"/>
                  <a:gd name="connsiteX43" fmla="*/ 1381033 w 1514633"/>
                  <a:gd name="connsiteY43" fmla="*/ 817923 h 1085850"/>
                  <a:gd name="connsiteX44" fmla="*/ 1383891 w 1514633"/>
                  <a:gd name="connsiteY44" fmla="*/ 112353 h 1085850"/>
                  <a:gd name="connsiteX45" fmla="*/ 808595 w 1514633"/>
                  <a:gd name="connsiteY45" fmla="*/ 112353 h 1085850"/>
                  <a:gd name="connsiteX46" fmla="*/ 808595 w 1514633"/>
                  <a:gd name="connsiteY46" fmla="*/ 80963 h 1085850"/>
                  <a:gd name="connsiteX47" fmla="*/ 121038 w 1514633"/>
                  <a:gd name="connsiteY47" fmla="*/ 80963 h 1085850"/>
                  <a:gd name="connsiteX48" fmla="*/ 609345 w 1514633"/>
                  <a:gd name="connsiteY48" fmla="*/ 80963 h 1085850"/>
                  <a:gd name="connsiteX49" fmla="*/ 712074 w 1514633"/>
                  <a:gd name="connsiteY49" fmla="*/ 80963 h 1085850"/>
                  <a:gd name="connsiteX50" fmla="*/ 713662 w 1514633"/>
                  <a:gd name="connsiteY50" fmla="*/ 80963 h 1085850"/>
                  <a:gd name="connsiteX51" fmla="*/ 713662 w 1514633"/>
                  <a:gd name="connsiteY51" fmla="*/ 94206 h 1085850"/>
                  <a:gd name="connsiteX52" fmla="*/ 713662 w 1514633"/>
                  <a:gd name="connsiteY52" fmla="*/ 111126 h 1085850"/>
                  <a:gd name="connsiteX53" fmla="*/ 713662 w 1514633"/>
                  <a:gd name="connsiteY53" fmla="*/ 112353 h 1085850"/>
                  <a:gd name="connsiteX54" fmla="*/ 136746 w 1514633"/>
                  <a:gd name="connsiteY54" fmla="*/ 112353 h 1085850"/>
                  <a:gd name="connsiteX55" fmla="*/ 133890 w 1514633"/>
                  <a:gd name="connsiteY55" fmla="*/ 817923 h 1085850"/>
                  <a:gd name="connsiteX56" fmla="*/ 710806 w 1514633"/>
                  <a:gd name="connsiteY56" fmla="*/ 817923 h 1085850"/>
                  <a:gd name="connsiteX57" fmla="*/ 710806 w 1514633"/>
                  <a:gd name="connsiteY57" fmla="*/ 849313 h 1085850"/>
                  <a:gd name="connsiteX58" fmla="*/ 118182 w 1514633"/>
                  <a:gd name="connsiteY58" fmla="*/ 849313 h 1085850"/>
                  <a:gd name="connsiteX59" fmla="*/ 102474 w 1514633"/>
                  <a:gd name="connsiteY59" fmla="*/ 833618 h 1085850"/>
                  <a:gd name="connsiteX60" fmla="*/ 105330 w 1514633"/>
                  <a:gd name="connsiteY60" fmla="*/ 96658 h 1085850"/>
                  <a:gd name="connsiteX61" fmla="*/ 121038 w 1514633"/>
                  <a:gd name="connsiteY61" fmla="*/ 80963 h 1085850"/>
                  <a:gd name="connsiteX62" fmla="*/ 759256 w 1514633"/>
                  <a:gd name="connsiteY62" fmla="*/ 0 h 1085850"/>
                  <a:gd name="connsiteX63" fmla="*/ 773987 w 1514633"/>
                  <a:gd name="connsiteY63" fmla="*/ 15706 h 1085850"/>
                  <a:gd name="connsiteX64" fmla="*/ 773987 w 1514633"/>
                  <a:gd name="connsiteY64" fmla="*/ 1070144 h 1085850"/>
                  <a:gd name="connsiteX65" fmla="*/ 759256 w 1514633"/>
                  <a:gd name="connsiteY65" fmla="*/ 1085850 h 1085850"/>
                  <a:gd name="connsiteX66" fmla="*/ 743824 w 1514633"/>
                  <a:gd name="connsiteY66" fmla="*/ 1070144 h 1085850"/>
                  <a:gd name="connsiteX67" fmla="*/ 743824 w 1514633"/>
                  <a:gd name="connsiteY67" fmla="*/ 15706 h 1085850"/>
                  <a:gd name="connsiteX68" fmla="*/ 759256 w 1514633"/>
                  <a:gd name="connsiteY68" fmla="*/ 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514633" h="1085850">
                    <a:moveTo>
                      <a:pt x="964541" y="881063"/>
                    </a:moveTo>
                    <a:cubicBezTo>
                      <a:pt x="964541" y="881063"/>
                      <a:pt x="964541" y="881063"/>
                      <a:pt x="1498896" y="881063"/>
                    </a:cubicBezTo>
                    <a:cubicBezTo>
                      <a:pt x="1503904" y="881063"/>
                      <a:pt x="1508196" y="883926"/>
                      <a:pt x="1511773" y="887505"/>
                    </a:cubicBezTo>
                    <a:cubicBezTo>
                      <a:pt x="1514634" y="891799"/>
                      <a:pt x="1515349" y="896810"/>
                      <a:pt x="1513919" y="901820"/>
                    </a:cubicBezTo>
                    <a:cubicBezTo>
                      <a:pt x="1513919" y="901820"/>
                      <a:pt x="1513919" y="901820"/>
                      <a:pt x="1485305" y="993436"/>
                    </a:cubicBezTo>
                    <a:cubicBezTo>
                      <a:pt x="1483159" y="1000594"/>
                      <a:pt x="1476721" y="1004888"/>
                      <a:pt x="1470283" y="1004888"/>
                    </a:cubicBezTo>
                    <a:cubicBezTo>
                      <a:pt x="1470283" y="1004888"/>
                      <a:pt x="1470283" y="1004888"/>
                      <a:pt x="805736" y="1004888"/>
                    </a:cubicBezTo>
                    <a:cubicBezTo>
                      <a:pt x="805736" y="1004888"/>
                      <a:pt x="805736" y="1004888"/>
                      <a:pt x="805736" y="972679"/>
                    </a:cubicBezTo>
                    <a:cubicBezTo>
                      <a:pt x="805736" y="972679"/>
                      <a:pt x="805736" y="972679"/>
                      <a:pt x="1458838" y="972679"/>
                    </a:cubicBezTo>
                    <a:cubicBezTo>
                      <a:pt x="1458838" y="972679"/>
                      <a:pt x="1458838" y="972679"/>
                      <a:pt x="1477436" y="912556"/>
                    </a:cubicBezTo>
                    <a:cubicBezTo>
                      <a:pt x="1477436" y="912556"/>
                      <a:pt x="1477436" y="912556"/>
                      <a:pt x="980278" y="912556"/>
                    </a:cubicBezTo>
                    <a:cubicBezTo>
                      <a:pt x="980278" y="912556"/>
                      <a:pt x="980278" y="912556"/>
                      <a:pt x="980278" y="924008"/>
                    </a:cubicBezTo>
                    <a:cubicBezTo>
                      <a:pt x="980278" y="932597"/>
                      <a:pt x="973125" y="939755"/>
                      <a:pt x="964541" y="939755"/>
                    </a:cubicBezTo>
                    <a:cubicBezTo>
                      <a:pt x="964541" y="939755"/>
                      <a:pt x="964541" y="939755"/>
                      <a:pt x="805736" y="939755"/>
                    </a:cubicBezTo>
                    <a:cubicBezTo>
                      <a:pt x="805736" y="939755"/>
                      <a:pt x="805736" y="939755"/>
                      <a:pt x="805736" y="908262"/>
                    </a:cubicBezTo>
                    <a:cubicBezTo>
                      <a:pt x="805736" y="908262"/>
                      <a:pt x="805736" y="908262"/>
                      <a:pt x="948803" y="908262"/>
                    </a:cubicBezTo>
                    <a:cubicBezTo>
                      <a:pt x="948803" y="908262"/>
                      <a:pt x="948803" y="908262"/>
                      <a:pt x="948803" y="896810"/>
                    </a:cubicBezTo>
                    <a:cubicBezTo>
                      <a:pt x="948803" y="888221"/>
                      <a:pt x="955957" y="881063"/>
                      <a:pt x="964541" y="881063"/>
                    </a:cubicBezTo>
                    <a:close/>
                    <a:moveTo>
                      <a:pt x="15726" y="881063"/>
                    </a:moveTo>
                    <a:cubicBezTo>
                      <a:pt x="15726" y="881063"/>
                      <a:pt x="15726" y="881063"/>
                      <a:pt x="549662" y="881063"/>
                    </a:cubicBezTo>
                    <a:cubicBezTo>
                      <a:pt x="558239" y="881063"/>
                      <a:pt x="565387" y="888221"/>
                      <a:pt x="565387" y="896810"/>
                    </a:cubicBezTo>
                    <a:cubicBezTo>
                      <a:pt x="565387" y="896810"/>
                      <a:pt x="565387" y="896810"/>
                      <a:pt x="565387" y="908262"/>
                    </a:cubicBezTo>
                    <a:cubicBezTo>
                      <a:pt x="565387" y="908262"/>
                      <a:pt x="565387" y="908262"/>
                      <a:pt x="710486" y="908262"/>
                    </a:cubicBezTo>
                    <a:cubicBezTo>
                      <a:pt x="710486" y="908262"/>
                      <a:pt x="710486" y="908262"/>
                      <a:pt x="710486" y="939755"/>
                    </a:cubicBezTo>
                    <a:cubicBezTo>
                      <a:pt x="710486" y="939755"/>
                      <a:pt x="710486" y="939755"/>
                      <a:pt x="549662" y="939755"/>
                    </a:cubicBezTo>
                    <a:cubicBezTo>
                      <a:pt x="541085" y="939755"/>
                      <a:pt x="533937" y="932597"/>
                      <a:pt x="533937" y="924008"/>
                    </a:cubicBezTo>
                    <a:cubicBezTo>
                      <a:pt x="533937" y="924008"/>
                      <a:pt x="533937" y="924008"/>
                      <a:pt x="533937" y="912556"/>
                    </a:cubicBezTo>
                    <a:cubicBezTo>
                      <a:pt x="533937" y="912556"/>
                      <a:pt x="533937" y="912556"/>
                      <a:pt x="37169" y="912556"/>
                    </a:cubicBezTo>
                    <a:cubicBezTo>
                      <a:pt x="37169" y="912556"/>
                      <a:pt x="37169" y="912556"/>
                      <a:pt x="55753" y="972679"/>
                    </a:cubicBezTo>
                    <a:cubicBezTo>
                      <a:pt x="55753" y="972679"/>
                      <a:pt x="55753" y="972679"/>
                      <a:pt x="710486" y="972679"/>
                    </a:cubicBezTo>
                    <a:cubicBezTo>
                      <a:pt x="710486" y="972679"/>
                      <a:pt x="710486" y="972679"/>
                      <a:pt x="710486" y="1004888"/>
                    </a:cubicBezTo>
                    <a:cubicBezTo>
                      <a:pt x="710486" y="1004888"/>
                      <a:pt x="710486" y="1004888"/>
                      <a:pt x="44317" y="1004888"/>
                    </a:cubicBezTo>
                    <a:cubicBezTo>
                      <a:pt x="37884" y="1004888"/>
                      <a:pt x="31451" y="1000594"/>
                      <a:pt x="29307" y="993436"/>
                    </a:cubicBezTo>
                    <a:cubicBezTo>
                      <a:pt x="29307" y="993436"/>
                      <a:pt x="29307" y="993436"/>
                      <a:pt x="716" y="901820"/>
                    </a:cubicBezTo>
                    <a:cubicBezTo>
                      <a:pt x="-714" y="896810"/>
                      <a:pt x="1" y="891799"/>
                      <a:pt x="2860" y="887505"/>
                    </a:cubicBezTo>
                    <a:cubicBezTo>
                      <a:pt x="6434" y="883926"/>
                      <a:pt x="10723" y="881063"/>
                      <a:pt x="15726" y="881063"/>
                    </a:cubicBezTo>
                    <a:close/>
                    <a:moveTo>
                      <a:pt x="808595" y="80963"/>
                    </a:moveTo>
                    <a:cubicBezTo>
                      <a:pt x="808595" y="80963"/>
                      <a:pt x="808595" y="80963"/>
                      <a:pt x="1399614" y="80963"/>
                    </a:cubicBezTo>
                    <a:cubicBezTo>
                      <a:pt x="1408190" y="80963"/>
                      <a:pt x="1415336" y="88097"/>
                      <a:pt x="1415336" y="96658"/>
                    </a:cubicBezTo>
                    <a:cubicBezTo>
                      <a:pt x="1415336" y="96658"/>
                      <a:pt x="1415336" y="96658"/>
                      <a:pt x="1412478" y="833618"/>
                    </a:cubicBezTo>
                    <a:cubicBezTo>
                      <a:pt x="1412478" y="842179"/>
                      <a:pt x="1405331" y="849313"/>
                      <a:pt x="1396755" y="849313"/>
                    </a:cubicBezTo>
                    <a:cubicBezTo>
                      <a:pt x="1396755" y="849313"/>
                      <a:pt x="1396755" y="849313"/>
                      <a:pt x="805736" y="849313"/>
                    </a:cubicBezTo>
                    <a:cubicBezTo>
                      <a:pt x="805736" y="849313"/>
                      <a:pt x="805736" y="849313"/>
                      <a:pt x="805736" y="817923"/>
                    </a:cubicBezTo>
                    <a:cubicBezTo>
                      <a:pt x="805736" y="817923"/>
                      <a:pt x="805736" y="817923"/>
                      <a:pt x="1381033" y="817923"/>
                    </a:cubicBezTo>
                    <a:cubicBezTo>
                      <a:pt x="1381033" y="817923"/>
                      <a:pt x="1381033" y="817923"/>
                      <a:pt x="1383891" y="112353"/>
                    </a:cubicBezTo>
                    <a:cubicBezTo>
                      <a:pt x="1383891" y="112353"/>
                      <a:pt x="1383891" y="112353"/>
                      <a:pt x="808595" y="112353"/>
                    </a:cubicBezTo>
                    <a:cubicBezTo>
                      <a:pt x="808595" y="112353"/>
                      <a:pt x="808595" y="112353"/>
                      <a:pt x="808595" y="80963"/>
                    </a:cubicBezTo>
                    <a:close/>
                    <a:moveTo>
                      <a:pt x="121038" y="80963"/>
                    </a:moveTo>
                    <a:cubicBezTo>
                      <a:pt x="121038" y="80963"/>
                      <a:pt x="121038" y="80963"/>
                      <a:pt x="609345" y="80963"/>
                    </a:cubicBezTo>
                    <a:lnTo>
                      <a:pt x="712074" y="80963"/>
                    </a:lnTo>
                    <a:lnTo>
                      <a:pt x="713662" y="80963"/>
                    </a:lnTo>
                    <a:cubicBezTo>
                      <a:pt x="713662" y="80963"/>
                      <a:pt x="713662" y="80963"/>
                      <a:pt x="713662" y="94206"/>
                    </a:cubicBezTo>
                    <a:lnTo>
                      <a:pt x="713662" y="111126"/>
                    </a:lnTo>
                    <a:lnTo>
                      <a:pt x="713662" y="112353"/>
                    </a:lnTo>
                    <a:cubicBezTo>
                      <a:pt x="713662" y="112353"/>
                      <a:pt x="713662" y="112353"/>
                      <a:pt x="136746" y="112353"/>
                    </a:cubicBezTo>
                    <a:cubicBezTo>
                      <a:pt x="136746" y="112353"/>
                      <a:pt x="136746" y="112353"/>
                      <a:pt x="133890" y="817923"/>
                    </a:cubicBezTo>
                    <a:cubicBezTo>
                      <a:pt x="133890" y="817923"/>
                      <a:pt x="133890" y="817923"/>
                      <a:pt x="710806" y="817923"/>
                    </a:cubicBezTo>
                    <a:cubicBezTo>
                      <a:pt x="710806" y="817923"/>
                      <a:pt x="710806" y="817923"/>
                      <a:pt x="710806" y="849313"/>
                    </a:cubicBezTo>
                    <a:cubicBezTo>
                      <a:pt x="710806" y="849313"/>
                      <a:pt x="710806" y="849313"/>
                      <a:pt x="118182" y="849313"/>
                    </a:cubicBezTo>
                    <a:cubicBezTo>
                      <a:pt x="109614" y="849313"/>
                      <a:pt x="102474" y="842179"/>
                      <a:pt x="102474" y="833618"/>
                    </a:cubicBezTo>
                    <a:cubicBezTo>
                      <a:pt x="102474" y="833618"/>
                      <a:pt x="102474" y="833618"/>
                      <a:pt x="105330" y="96658"/>
                    </a:cubicBezTo>
                    <a:cubicBezTo>
                      <a:pt x="105330" y="88097"/>
                      <a:pt x="112470" y="80963"/>
                      <a:pt x="121038" y="80963"/>
                    </a:cubicBezTo>
                    <a:close/>
                    <a:moveTo>
                      <a:pt x="759256" y="0"/>
                    </a:moveTo>
                    <a:cubicBezTo>
                      <a:pt x="766973" y="0"/>
                      <a:pt x="773987" y="7139"/>
                      <a:pt x="773987" y="15706"/>
                    </a:cubicBezTo>
                    <a:cubicBezTo>
                      <a:pt x="773987" y="1070144"/>
                      <a:pt x="773987" y="1070144"/>
                      <a:pt x="773987" y="1070144"/>
                    </a:cubicBezTo>
                    <a:cubicBezTo>
                      <a:pt x="773987" y="1078711"/>
                      <a:pt x="766973" y="1085850"/>
                      <a:pt x="759256" y="1085850"/>
                    </a:cubicBezTo>
                    <a:cubicBezTo>
                      <a:pt x="750137" y="1085850"/>
                      <a:pt x="743824" y="1078711"/>
                      <a:pt x="743824" y="1070144"/>
                    </a:cubicBezTo>
                    <a:cubicBezTo>
                      <a:pt x="743824" y="15706"/>
                      <a:pt x="743824" y="15706"/>
                      <a:pt x="743824" y="15706"/>
                    </a:cubicBezTo>
                    <a:cubicBezTo>
                      <a:pt x="743824" y="7139"/>
                      <a:pt x="750137" y="0"/>
                      <a:pt x="759256"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16" name="Freeform 6">
                <a:extLst>
                  <a:ext uri="{FF2B5EF4-FFF2-40B4-BE49-F238E27FC236}">
                    <a16:creationId xmlns:a16="http://schemas.microsoft.com/office/drawing/2014/main" id="{A0E3DCE0-6DDE-4F90-BA43-8BE7762F4DAE}"/>
                  </a:ext>
                </a:extLst>
              </p:cNvPr>
              <p:cNvSpPr>
                <a:spLocks/>
              </p:cNvSpPr>
              <p:nvPr/>
            </p:nvSpPr>
            <p:spPr bwMode="auto">
              <a:xfrm>
                <a:off x="5500687" y="2938463"/>
                <a:ext cx="1185862" cy="646113"/>
              </a:xfrm>
              <a:custGeom>
                <a:avLst/>
                <a:gdLst>
                  <a:gd name="connsiteX0" fmla="*/ 898496 w 1185862"/>
                  <a:gd name="connsiteY0" fmla="*/ 312737 h 646113"/>
                  <a:gd name="connsiteX1" fmla="*/ 960016 w 1185862"/>
                  <a:gd name="connsiteY1" fmla="*/ 327739 h 646113"/>
                  <a:gd name="connsiteX2" fmla="*/ 977900 w 1185862"/>
                  <a:gd name="connsiteY2" fmla="*/ 374888 h 646113"/>
                  <a:gd name="connsiteX3" fmla="*/ 959301 w 1185862"/>
                  <a:gd name="connsiteY3" fmla="*/ 425609 h 646113"/>
                  <a:gd name="connsiteX4" fmla="*/ 897780 w 1185862"/>
                  <a:gd name="connsiteY4" fmla="*/ 441325 h 646113"/>
                  <a:gd name="connsiteX5" fmla="*/ 862012 w 1185862"/>
                  <a:gd name="connsiteY5" fmla="*/ 439182 h 646113"/>
                  <a:gd name="connsiteX6" fmla="*/ 862012 w 1185862"/>
                  <a:gd name="connsiteY6" fmla="*/ 314166 h 646113"/>
                  <a:gd name="connsiteX7" fmla="*/ 898496 w 1185862"/>
                  <a:gd name="connsiteY7" fmla="*/ 312737 h 646113"/>
                  <a:gd name="connsiteX8" fmla="*/ 277813 w 1185862"/>
                  <a:gd name="connsiteY8" fmla="*/ 230187 h 646113"/>
                  <a:gd name="connsiteX9" fmla="*/ 323850 w 1185862"/>
                  <a:gd name="connsiteY9" fmla="*/ 374650 h 646113"/>
                  <a:gd name="connsiteX10" fmla="*/ 227012 w 1185862"/>
                  <a:gd name="connsiteY10" fmla="*/ 374650 h 646113"/>
                  <a:gd name="connsiteX11" fmla="*/ 902244 w 1185862"/>
                  <a:gd name="connsiteY11" fmla="*/ 182562 h 646113"/>
                  <a:gd name="connsiteX12" fmla="*/ 960437 w 1185862"/>
                  <a:gd name="connsiteY12" fmla="*/ 228542 h 646113"/>
                  <a:gd name="connsiteX13" fmla="*/ 897215 w 1185862"/>
                  <a:gd name="connsiteY13" fmla="*/ 280987 h 646113"/>
                  <a:gd name="connsiteX14" fmla="*/ 862012 w 1185862"/>
                  <a:gd name="connsiteY14" fmla="*/ 279550 h 646113"/>
                  <a:gd name="connsiteX15" fmla="*/ 862012 w 1185862"/>
                  <a:gd name="connsiteY15" fmla="*/ 183999 h 646113"/>
                  <a:gd name="connsiteX16" fmla="*/ 902244 w 1185862"/>
                  <a:gd name="connsiteY16" fmla="*/ 182562 h 646113"/>
                  <a:gd name="connsiteX17" fmla="*/ 903739 w 1185862"/>
                  <a:gd name="connsiteY17" fmla="*/ 146050 h 646113"/>
                  <a:gd name="connsiteX18" fmla="*/ 817562 w 1185862"/>
                  <a:gd name="connsiteY18" fmla="*/ 148903 h 646113"/>
                  <a:gd name="connsiteX19" fmla="*/ 817562 w 1185862"/>
                  <a:gd name="connsiteY19" fmla="*/ 476250 h 646113"/>
                  <a:gd name="connsiteX20" fmla="*/ 910861 w 1185862"/>
                  <a:gd name="connsiteY20" fmla="*/ 476250 h 646113"/>
                  <a:gd name="connsiteX21" fmla="*/ 993476 w 1185862"/>
                  <a:gd name="connsiteY21" fmla="*/ 450576 h 646113"/>
                  <a:gd name="connsiteX22" fmla="*/ 1025525 w 1185862"/>
                  <a:gd name="connsiteY22" fmla="*/ 381398 h 646113"/>
                  <a:gd name="connsiteX23" fmla="*/ 1007720 w 1185862"/>
                  <a:gd name="connsiteY23" fmla="*/ 322918 h 646113"/>
                  <a:gd name="connsiteX24" fmla="*/ 950744 w 1185862"/>
                  <a:gd name="connsiteY24" fmla="*/ 291538 h 646113"/>
                  <a:gd name="connsiteX25" fmla="*/ 988491 w 1185862"/>
                  <a:gd name="connsiteY25" fmla="*/ 268003 h 646113"/>
                  <a:gd name="connsiteX26" fmla="*/ 1005584 w 1185862"/>
                  <a:gd name="connsiteY26" fmla="*/ 226639 h 646113"/>
                  <a:gd name="connsiteX27" fmla="*/ 978520 w 1185862"/>
                  <a:gd name="connsiteY27" fmla="*/ 166732 h 646113"/>
                  <a:gd name="connsiteX28" fmla="*/ 903739 w 1185862"/>
                  <a:gd name="connsiteY28" fmla="*/ 146050 h 646113"/>
                  <a:gd name="connsiteX29" fmla="*/ 274004 w 1185862"/>
                  <a:gd name="connsiteY29" fmla="*/ 144462 h 646113"/>
                  <a:gd name="connsiteX30" fmla="*/ 141287 w 1185862"/>
                  <a:gd name="connsiteY30" fmla="*/ 476250 h 646113"/>
                  <a:gd name="connsiteX31" fmla="*/ 191234 w 1185862"/>
                  <a:gd name="connsiteY31" fmla="*/ 476250 h 646113"/>
                  <a:gd name="connsiteX32" fmla="*/ 215495 w 1185862"/>
                  <a:gd name="connsiteY32" fmla="*/ 407038 h 646113"/>
                  <a:gd name="connsiteX33" fmla="*/ 336795 w 1185862"/>
                  <a:gd name="connsiteY33" fmla="*/ 407038 h 646113"/>
                  <a:gd name="connsiteX34" fmla="*/ 359628 w 1185862"/>
                  <a:gd name="connsiteY34" fmla="*/ 476250 h 646113"/>
                  <a:gd name="connsiteX35" fmla="*/ 409575 w 1185862"/>
                  <a:gd name="connsiteY35" fmla="*/ 476250 h 646113"/>
                  <a:gd name="connsiteX36" fmla="*/ 286134 w 1185862"/>
                  <a:gd name="connsiteY36" fmla="*/ 144462 h 646113"/>
                  <a:gd name="connsiteX37" fmla="*/ 274004 w 1185862"/>
                  <a:gd name="connsiteY37" fmla="*/ 144462 h 646113"/>
                  <a:gd name="connsiteX38" fmla="*/ 642621 w 1185862"/>
                  <a:gd name="connsiteY38" fmla="*/ 0 h 646113"/>
                  <a:gd name="connsiteX39" fmla="*/ 1178714 w 1185862"/>
                  <a:gd name="connsiteY39" fmla="*/ 0 h 646113"/>
                  <a:gd name="connsiteX40" fmla="*/ 1185862 w 1185862"/>
                  <a:gd name="connsiteY40" fmla="*/ 7139 h 646113"/>
                  <a:gd name="connsiteX41" fmla="*/ 1183003 w 1185862"/>
                  <a:gd name="connsiteY41" fmla="*/ 638974 h 646113"/>
                  <a:gd name="connsiteX42" fmla="*/ 1175855 w 1185862"/>
                  <a:gd name="connsiteY42" fmla="*/ 646113 h 646113"/>
                  <a:gd name="connsiteX43" fmla="*/ 639762 w 1185862"/>
                  <a:gd name="connsiteY43" fmla="*/ 646113 h 646113"/>
                  <a:gd name="connsiteX44" fmla="*/ 642621 w 1185862"/>
                  <a:gd name="connsiteY44" fmla="*/ 0 h 646113"/>
                  <a:gd name="connsiteX45" fmla="*/ 10013 w 1185862"/>
                  <a:gd name="connsiteY45" fmla="*/ 0 h 646113"/>
                  <a:gd name="connsiteX46" fmla="*/ 549275 w 1185862"/>
                  <a:gd name="connsiteY46" fmla="*/ 0 h 646113"/>
                  <a:gd name="connsiteX47" fmla="*/ 546414 w 1185862"/>
                  <a:gd name="connsiteY47" fmla="*/ 646113 h 646113"/>
                  <a:gd name="connsiteX48" fmla="*/ 7152 w 1185862"/>
                  <a:gd name="connsiteY48" fmla="*/ 646113 h 646113"/>
                  <a:gd name="connsiteX49" fmla="*/ 0 w 1185862"/>
                  <a:gd name="connsiteY49" fmla="*/ 638974 h 646113"/>
                  <a:gd name="connsiteX50" fmla="*/ 2861 w 1185862"/>
                  <a:gd name="connsiteY50" fmla="*/ 7139 h 646113"/>
                  <a:gd name="connsiteX51" fmla="*/ 10013 w 1185862"/>
                  <a:gd name="connsiteY51"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85862" h="646113">
                    <a:moveTo>
                      <a:pt x="898496" y="312737"/>
                    </a:moveTo>
                    <a:cubicBezTo>
                      <a:pt x="927110" y="312737"/>
                      <a:pt x="947855" y="317738"/>
                      <a:pt x="960016" y="327739"/>
                    </a:cubicBezTo>
                    <a:cubicBezTo>
                      <a:pt x="972177" y="338455"/>
                      <a:pt x="977900" y="354171"/>
                      <a:pt x="977900" y="374888"/>
                    </a:cubicBezTo>
                    <a:cubicBezTo>
                      <a:pt x="977900" y="398462"/>
                      <a:pt x="972177" y="414893"/>
                      <a:pt x="959301" y="425609"/>
                    </a:cubicBezTo>
                    <a:cubicBezTo>
                      <a:pt x="946424" y="436324"/>
                      <a:pt x="925679" y="441325"/>
                      <a:pt x="897780" y="441325"/>
                    </a:cubicBezTo>
                    <a:cubicBezTo>
                      <a:pt x="889196" y="441325"/>
                      <a:pt x="877750" y="440611"/>
                      <a:pt x="862012" y="439182"/>
                    </a:cubicBezTo>
                    <a:cubicBezTo>
                      <a:pt x="862012" y="314166"/>
                      <a:pt x="862012" y="314166"/>
                      <a:pt x="862012" y="314166"/>
                    </a:cubicBezTo>
                    <a:cubicBezTo>
                      <a:pt x="898496" y="312737"/>
                      <a:pt x="898496" y="312737"/>
                      <a:pt x="898496" y="312737"/>
                    </a:cubicBezTo>
                    <a:close/>
                    <a:moveTo>
                      <a:pt x="277813" y="230187"/>
                    </a:moveTo>
                    <a:lnTo>
                      <a:pt x="323850" y="374650"/>
                    </a:lnTo>
                    <a:lnTo>
                      <a:pt x="227012" y="374650"/>
                    </a:lnTo>
                    <a:close/>
                    <a:moveTo>
                      <a:pt x="902244" y="182562"/>
                    </a:moveTo>
                    <a:cubicBezTo>
                      <a:pt x="941040" y="182562"/>
                      <a:pt x="960437" y="197649"/>
                      <a:pt x="960437" y="228542"/>
                    </a:cubicBezTo>
                    <a:cubicBezTo>
                      <a:pt x="960437" y="263745"/>
                      <a:pt x="938884" y="280987"/>
                      <a:pt x="897215" y="280987"/>
                    </a:cubicBezTo>
                    <a:cubicBezTo>
                      <a:pt x="883565" y="280987"/>
                      <a:pt x="871352" y="280269"/>
                      <a:pt x="862012" y="279550"/>
                    </a:cubicBezTo>
                    <a:cubicBezTo>
                      <a:pt x="862012" y="183999"/>
                      <a:pt x="862012" y="183999"/>
                      <a:pt x="862012" y="183999"/>
                    </a:cubicBezTo>
                    <a:cubicBezTo>
                      <a:pt x="874226" y="183281"/>
                      <a:pt x="887157" y="182562"/>
                      <a:pt x="902244" y="182562"/>
                    </a:cubicBezTo>
                    <a:close/>
                    <a:moveTo>
                      <a:pt x="903739" y="146050"/>
                    </a:moveTo>
                    <a:cubicBezTo>
                      <a:pt x="885934" y="146050"/>
                      <a:pt x="857446" y="146763"/>
                      <a:pt x="817562" y="148903"/>
                    </a:cubicBezTo>
                    <a:cubicBezTo>
                      <a:pt x="817562" y="148903"/>
                      <a:pt x="817562" y="148903"/>
                      <a:pt x="817562" y="476250"/>
                    </a:cubicBezTo>
                    <a:cubicBezTo>
                      <a:pt x="817562" y="476250"/>
                      <a:pt x="817562" y="476250"/>
                      <a:pt x="910861" y="476250"/>
                    </a:cubicBezTo>
                    <a:cubicBezTo>
                      <a:pt x="945046" y="476250"/>
                      <a:pt x="972822" y="467692"/>
                      <a:pt x="993476" y="450576"/>
                    </a:cubicBezTo>
                    <a:cubicBezTo>
                      <a:pt x="1014842" y="433460"/>
                      <a:pt x="1025525" y="410638"/>
                      <a:pt x="1025525" y="381398"/>
                    </a:cubicBezTo>
                    <a:cubicBezTo>
                      <a:pt x="1025525" y="357150"/>
                      <a:pt x="1019115" y="337181"/>
                      <a:pt x="1007720" y="322918"/>
                    </a:cubicBezTo>
                    <a:cubicBezTo>
                      <a:pt x="995613" y="307941"/>
                      <a:pt x="977096" y="297956"/>
                      <a:pt x="950744" y="291538"/>
                    </a:cubicBezTo>
                    <a:cubicBezTo>
                      <a:pt x="964276" y="288685"/>
                      <a:pt x="977096" y="280840"/>
                      <a:pt x="988491" y="268003"/>
                    </a:cubicBezTo>
                    <a:cubicBezTo>
                      <a:pt x="999886" y="255879"/>
                      <a:pt x="1005584" y="241616"/>
                      <a:pt x="1005584" y="226639"/>
                    </a:cubicBezTo>
                    <a:cubicBezTo>
                      <a:pt x="1005584" y="200965"/>
                      <a:pt x="996325" y="180996"/>
                      <a:pt x="978520" y="166732"/>
                    </a:cubicBezTo>
                    <a:cubicBezTo>
                      <a:pt x="960715" y="153182"/>
                      <a:pt x="935788" y="146050"/>
                      <a:pt x="903739" y="146050"/>
                    </a:cubicBezTo>
                    <a:close/>
                    <a:moveTo>
                      <a:pt x="274004" y="144462"/>
                    </a:moveTo>
                    <a:cubicBezTo>
                      <a:pt x="274004" y="144462"/>
                      <a:pt x="274004" y="144462"/>
                      <a:pt x="141287" y="476250"/>
                    </a:cubicBezTo>
                    <a:cubicBezTo>
                      <a:pt x="141287" y="476250"/>
                      <a:pt x="141287" y="476250"/>
                      <a:pt x="191234" y="476250"/>
                    </a:cubicBezTo>
                    <a:cubicBezTo>
                      <a:pt x="191234" y="476250"/>
                      <a:pt x="191234" y="476250"/>
                      <a:pt x="215495" y="407038"/>
                    </a:cubicBezTo>
                    <a:cubicBezTo>
                      <a:pt x="215495" y="407038"/>
                      <a:pt x="215495" y="407038"/>
                      <a:pt x="336795" y="407038"/>
                    </a:cubicBezTo>
                    <a:cubicBezTo>
                      <a:pt x="336795" y="407038"/>
                      <a:pt x="336795" y="407038"/>
                      <a:pt x="359628" y="476250"/>
                    </a:cubicBezTo>
                    <a:cubicBezTo>
                      <a:pt x="359628" y="476250"/>
                      <a:pt x="359628" y="476250"/>
                      <a:pt x="409575" y="476250"/>
                    </a:cubicBezTo>
                    <a:cubicBezTo>
                      <a:pt x="409575" y="476250"/>
                      <a:pt x="409575" y="476250"/>
                      <a:pt x="286134" y="144462"/>
                    </a:cubicBezTo>
                    <a:cubicBezTo>
                      <a:pt x="286134" y="144462"/>
                      <a:pt x="286134" y="144462"/>
                      <a:pt x="274004" y="144462"/>
                    </a:cubicBezTo>
                    <a:close/>
                    <a:moveTo>
                      <a:pt x="642621" y="0"/>
                    </a:moveTo>
                    <a:cubicBezTo>
                      <a:pt x="642621" y="0"/>
                      <a:pt x="642621" y="0"/>
                      <a:pt x="1178714" y="0"/>
                    </a:cubicBezTo>
                    <a:cubicBezTo>
                      <a:pt x="1183003" y="0"/>
                      <a:pt x="1185862" y="2856"/>
                      <a:pt x="1185862" y="7139"/>
                    </a:cubicBezTo>
                    <a:cubicBezTo>
                      <a:pt x="1185862" y="7139"/>
                      <a:pt x="1185862" y="7139"/>
                      <a:pt x="1183003" y="638974"/>
                    </a:cubicBezTo>
                    <a:cubicBezTo>
                      <a:pt x="1183003" y="643257"/>
                      <a:pt x="1180144" y="646113"/>
                      <a:pt x="1175855" y="646113"/>
                    </a:cubicBezTo>
                    <a:cubicBezTo>
                      <a:pt x="1175855" y="646113"/>
                      <a:pt x="1175855" y="646113"/>
                      <a:pt x="639762" y="646113"/>
                    </a:cubicBezTo>
                    <a:cubicBezTo>
                      <a:pt x="639762" y="646113"/>
                      <a:pt x="639762" y="646113"/>
                      <a:pt x="642621" y="0"/>
                    </a:cubicBezTo>
                    <a:close/>
                    <a:moveTo>
                      <a:pt x="10013" y="0"/>
                    </a:moveTo>
                    <a:cubicBezTo>
                      <a:pt x="10013" y="0"/>
                      <a:pt x="10013" y="0"/>
                      <a:pt x="549275" y="0"/>
                    </a:cubicBezTo>
                    <a:cubicBezTo>
                      <a:pt x="549275" y="0"/>
                      <a:pt x="549275" y="0"/>
                      <a:pt x="546414" y="646113"/>
                    </a:cubicBezTo>
                    <a:cubicBezTo>
                      <a:pt x="546414" y="646113"/>
                      <a:pt x="546414" y="646113"/>
                      <a:pt x="7152" y="646113"/>
                    </a:cubicBezTo>
                    <a:cubicBezTo>
                      <a:pt x="2861" y="646113"/>
                      <a:pt x="0" y="643257"/>
                      <a:pt x="0" y="638974"/>
                    </a:cubicBezTo>
                    <a:cubicBezTo>
                      <a:pt x="0" y="638974"/>
                      <a:pt x="0" y="638974"/>
                      <a:pt x="2861" y="7139"/>
                    </a:cubicBezTo>
                    <a:cubicBezTo>
                      <a:pt x="2861" y="2856"/>
                      <a:pt x="5722" y="0"/>
                      <a:pt x="10013"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435427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25ADF64-59AF-4ECE-AF72-3D9714202339}"/>
              </a:ext>
            </a:extLst>
          </p:cNvPr>
          <p:cNvGraphicFramePr>
            <a:graphicFrameLocks noChangeAspect="1"/>
          </p:cNvGraphicFramePr>
          <p:nvPr>
            <p:custDataLst>
              <p:tags r:id="rId2"/>
            </p:custDataLst>
            <p:extLst>
              <p:ext uri="{D42A27DB-BD31-4B8C-83A1-F6EECF244321}">
                <p14:modId xmlns:p14="http://schemas.microsoft.com/office/powerpoint/2010/main" val="42240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6"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E25ADF64-59AF-4ECE-AF72-3D97142023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400050" y="387882"/>
            <a:ext cx="10933235" cy="566735"/>
          </a:xfrm>
        </p:spPr>
        <p:txBody>
          <a:bodyPr vert="horz"/>
          <a:lstStyle/>
          <a:p>
            <a:pPr>
              <a:buSzPts val="3000"/>
            </a:pPr>
            <a:r>
              <a:rPr lang="en-US" sz="2700" cap="none" dirty="0">
                <a:solidFill>
                  <a:srgbClr val="164484"/>
                </a:solidFill>
              </a:rPr>
              <a:t>High-speed Internet gives people freedom to live, work, and learn what they want, when they want, where they want</a:t>
            </a:r>
          </a:p>
        </p:txBody>
      </p:sp>
      <p:grpSp>
        <p:nvGrpSpPr>
          <p:cNvPr id="39" name="Group 38">
            <a:extLst>
              <a:ext uri="{FF2B5EF4-FFF2-40B4-BE49-F238E27FC236}">
                <a16:creationId xmlns:a16="http://schemas.microsoft.com/office/drawing/2014/main" id="{C34D11F1-84A1-43E8-8B7B-4F06D0175DB9}"/>
              </a:ext>
            </a:extLst>
          </p:cNvPr>
          <p:cNvGrpSpPr/>
          <p:nvPr/>
        </p:nvGrpSpPr>
        <p:grpSpPr>
          <a:xfrm>
            <a:off x="568062" y="1591357"/>
            <a:ext cx="1589688" cy="2197598"/>
            <a:chOff x="528781" y="1591357"/>
            <a:chExt cx="1589688" cy="2197598"/>
          </a:xfrm>
        </p:grpSpPr>
        <p:sp>
          <p:nvSpPr>
            <p:cNvPr id="9" name="ee4pContent1">
              <a:extLst>
                <a:ext uri="{FF2B5EF4-FFF2-40B4-BE49-F238E27FC236}">
                  <a16:creationId xmlns:a16="http://schemas.microsoft.com/office/drawing/2014/main" id="{5D52FCEE-9278-4E87-BCAA-0A1C3AE24853}"/>
                </a:ext>
              </a:extLst>
            </p:cNvPr>
            <p:cNvSpPr txBox="1"/>
            <p:nvPr/>
          </p:nvSpPr>
          <p:spPr>
            <a:xfrm>
              <a:off x="528781" y="2790076"/>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Students will have opportunities to </a:t>
              </a:r>
              <a:r>
                <a:rPr lang="en-US" sz="1400" b="1" dirty="0">
                  <a:solidFill>
                    <a:srgbClr val="164484"/>
                  </a:solidFill>
                  <a:latin typeface="+mj-lt"/>
                </a:rPr>
                <a:t>learn</a:t>
              </a:r>
              <a:r>
                <a:rPr lang="en-US" sz="1400" dirty="0">
                  <a:solidFill>
                    <a:srgbClr val="000000"/>
                  </a:solidFill>
                  <a:latin typeface="+mj-lt"/>
                </a:rPr>
                <a:t> outside the classroom</a:t>
              </a:r>
            </a:p>
          </p:txBody>
        </p:sp>
        <p:sp>
          <p:nvSpPr>
            <p:cNvPr id="26" name="Arc 25">
              <a:extLst>
                <a:ext uri="{FF2B5EF4-FFF2-40B4-BE49-F238E27FC236}">
                  <a16:creationId xmlns:a16="http://schemas.microsoft.com/office/drawing/2014/main" id="{5E3318EC-32C1-4F94-9F1B-33EA140BAAC8}"/>
                </a:ext>
              </a:extLst>
            </p:cNvPr>
            <p:cNvSpPr/>
            <p:nvPr/>
          </p:nvSpPr>
          <p:spPr>
            <a:xfrm>
              <a:off x="881025" y="1591357"/>
              <a:ext cx="905223" cy="905223"/>
            </a:xfrm>
            <a:prstGeom prst="arc">
              <a:avLst>
                <a:gd name="adj1" fmla="val 5449192"/>
                <a:gd name="adj2" fmla="val 19057055"/>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cxnSp>
          <p:nvCxnSpPr>
            <p:cNvPr id="27" name="Straight Connector 26">
              <a:extLst>
                <a:ext uri="{FF2B5EF4-FFF2-40B4-BE49-F238E27FC236}">
                  <a16:creationId xmlns:a16="http://schemas.microsoft.com/office/drawing/2014/main" id="{FE4BDD05-27DD-47A1-A65E-7DCB1B66A4A4}"/>
                </a:ext>
              </a:extLst>
            </p:cNvPr>
            <p:cNvCxnSpPr/>
            <p:nvPr/>
          </p:nvCxnSpPr>
          <p:spPr>
            <a:xfrm>
              <a:off x="633572" y="2722961"/>
              <a:ext cx="1380106"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EC8C737-6E16-41C2-BC2C-03A210355674}"/>
                </a:ext>
              </a:extLst>
            </p:cNvPr>
            <p:cNvCxnSpPr/>
            <p:nvPr/>
          </p:nvCxnSpPr>
          <p:spPr>
            <a:xfrm>
              <a:off x="1318896" y="2531534"/>
              <a:ext cx="0" cy="19142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6B35E546-1E85-4551-8874-0CE441E672C3}"/>
                </a:ext>
              </a:extLst>
            </p:cNvPr>
            <p:cNvGrpSpPr/>
            <p:nvPr/>
          </p:nvGrpSpPr>
          <p:grpSpPr>
            <a:xfrm>
              <a:off x="1057526" y="1725841"/>
              <a:ext cx="669977" cy="602974"/>
              <a:chOff x="1057526" y="1725841"/>
              <a:chExt cx="669977" cy="602974"/>
            </a:xfrm>
          </p:grpSpPr>
          <p:sp>
            <p:nvSpPr>
              <p:cNvPr id="138" name="AutoShape 4">
                <a:extLst>
                  <a:ext uri="{FF2B5EF4-FFF2-40B4-BE49-F238E27FC236}">
                    <a16:creationId xmlns:a16="http://schemas.microsoft.com/office/drawing/2014/main" id="{D4629AC7-831B-4D23-8974-C1392F17A751}"/>
                  </a:ext>
                </a:extLst>
              </p:cNvPr>
              <p:cNvSpPr>
                <a:spLocks noChangeAspect="1" noChangeArrowheads="1" noTextEdit="1"/>
              </p:cNvSpPr>
              <p:nvPr/>
            </p:nvSpPr>
            <p:spPr bwMode="auto">
              <a:xfrm>
                <a:off x="1131232" y="1732544"/>
                <a:ext cx="596271" cy="59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AutoShape 15">
                <a:extLst>
                  <a:ext uri="{FF2B5EF4-FFF2-40B4-BE49-F238E27FC236}">
                    <a16:creationId xmlns:a16="http://schemas.microsoft.com/office/drawing/2014/main" id="{F80BA2C9-4ED4-47C6-A35D-418AAA0BF865}"/>
                  </a:ext>
                </a:extLst>
              </p:cNvPr>
              <p:cNvSpPr>
                <a:spLocks noChangeAspect="1" noChangeArrowheads="1" noTextEdit="1"/>
              </p:cNvSpPr>
              <p:nvPr/>
            </p:nvSpPr>
            <p:spPr bwMode="auto">
              <a:xfrm>
                <a:off x="1057526" y="1725841"/>
                <a:ext cx="596270" cy="594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7">
                <a:extLst>
                  <a:ext uri="{FF2B5EF4-FFF2-40B4-BE49-F238E27FC236}">
                    <a16:creationId xmlns:a16="http://schemas.microsoft.com/office/drawing/2014/main" id="{CAD9E267-7A6E-4CBD-83F7-494717A59579}"/>
                  </a:ext>
                </a:extLst>
              </p:cNvPr>
              <p:cNvSpPr>
                <a:spLocks noEditPoints="1"/>
              </p:cNvSpPr>
              <p:nvPr/>
            </p:nvSpPr>
            <p:spPr bwMode="auto">
              <a:xfrm>
                <a:off x="1115296" y="1760916"/>
                <a:ext cx="480730" cy="524057"/>
              </a:xfrm>
              <a:custGeom>
                <a:avLst/>
                <a:gdLst>
                  <a:gd name="T0" fmla="*/ 498 w 807"/>
                  <a:gd name="T1" fmla="*/ 880 h 880"/>
                  <a:gd name="T2" fmla="*/ 538 w 807"/>
                  <a:gd name="T3" fmla="*/ 695 h 880"/>
                  <a:gd name="T4" fmla="*/ 605 w 807"/>
                  <a:gd name="T5" fmla="*/ 189 h 880"/>
                  <a:gd name="T6" fmla="*/ 291 w 807"/>
                  <a:gd name="T7" fmla="*/ 162 h 880"/>
                  <a:gd name="T8" fmla="*/ 200 w 807"/>
                  <a:gd name="T9" fmla="*/ 240 h 880"/>
                  <a:gd name="T10" fmla="*/ 192 w 807"/>
                  <a:gd name="T11" fmla="*/ 344 h 880"/>
                  <a:gd name="T12" fmla="*/ 278 w 807"/>
                  <a:gd name="T13" fmla="*/ 306 h 880"/>
                  <a:gd name="T14" fmla="*/ 289 w 807"/>
                  <a:gd name="T15" fmla="*/ 302 h 880"/>
                  <a:gd name="T16" fmla="*/ 577 w 807"/>
                  <a:gd name="T17" fmla="*/ 450 h 880"/>
                  <a:gd name="T18" fmla="*/ 593 w 807"/>
                  <a:gd name="T19" fmla="*/ 439 h 880"/>
                  <a:gd name="T20" fmla="*/ 615 w 807"/>
                  <a:gd name="T21" fmla="*/ 344 h 880"/>
                  <a:gd name="T22" fmla="*/ 605 w 807"/>
                  <a:gd name="T23" fmla="*/ 240 h 880"/>
                  <a:gd name="T24" fmla="*/ 270 w 807"/>
                  <a:gd name="T25" fmla="*/ 695 h 880"/>
                  <a:gd name="T26" fmla="*/ 12 w 807"/>
                  <a:gd name="T27" fmla="*/ 880 h 880"/>
                  <a:gd name="T28" fmla="*/ 274 w 807"/>
                  <a:gd name="T29" fmla="*/ 699 h 880"/>
                  <a:gd name="T30" fmla="*/ 522 w 807"/>
                  <a:gd name="T31" fmla="*/ 679 h 880"/>
                  <a:gd name="T32" fmla="*/ 586 w 807"/>
                  <a:gd name="T33" fmla="*/ 501 h 880"/>
                  <a:gd name="T34" fmla="*/ 617 w 807"/>
                  <a:gd name="T35" fmla="*/ 452 h 880"/>
                  <a:gd name="T36" fmla="*/ 573 w 807"/>
                  <a:gd name="T37" fmla="*/ 485 h 880"/>
                  <a:gd name="T38" fmla="*/ 404 w 807"/>
                  <a:gd name="T39" fmla="*/ 676 h 880"/>
                  <a:gd name="T40" fmla="*/ 234 w 807"/>
                  <a:gd name="T41" fmla="*/ 485 h 880"/>
                  <a:gd name="T42" fmla="*/ 191 w 807"/>
                  <a:gd name="T43" fmla="*/ 453 h 880"/>
                  <a:gd name="T44" fmla="*/ 222 w 807"/>
                  <a:gd name="T45" fmla="*/ 501 h 880"/>
                  <a:gd name="T46" fmla="*/ 286 w 807"/>
                  <a:gd name="T47" fmla="*/ 636 h 880"/>
                  <a:gd name="T48" fmla="*/ 289 w 807"/>
                  <a:gd name="T49" fmla="*/ 684 h 880"/>
                  <a:gd name="T50" fmla="*/ 306 w 807"/>
                  <a:gd name="T51" fmla="*/ 652 h 880"/>
                  <a:gd name="T52" fmla="*/ 502 w 807"/>
                  <a:gd name="T53" fmla="*/ 676 h 880"/>
                  <a:gd name="T54" fmla="*/ 561 w 807"/>
                  <a:gd name="T55" fmla="*/ 677 h 880"/>
                  <a:gd name="T56" fmla="*/ 579 w 807"/>
                  <a:gd name="T57" fmla="*/ 569 h 880"/>
                  <a:gd name="T58" fmla="*/ 528 w 807"/>
                  <a:gd name="T59" fmla="*/ 670 h 880"/>
                  <a:gd name="T60" fmla="*/ 423 w 807"/>
                  <a:gd name="T61" fmla="*/ 780 h 880"/>
                  <a:gd name="T62" fmla="*/ 448 w 807"/>
                  <a:gd name="T63" fmla="*/ 729 h 880"/>
                  <a:gd name="T64" fmla="*/ 357 w 807"/>
                  <a:gd name="T65" fmla="*/ 730 h 880"/>
                  <a:gd name="T66" fmla="*/ 386 w 807"/>
                  <a:gd name="T67" fmla="*/ 784 h 880"/>
                  <a:gd name="T68" fmla="*/ 449 w 807"/>
                  <a:gd name="T69" fmla="*/ 880 h 880"/>
                  <a:gd name="T70" fmla="*/ 229 w 807"/>
                  <a:gd name="T71" fmla="*/ 569 h 880"/>
                  <a:gd name="T72" fmla="*/ 247 w 807"/>
                  <a:gd name="T73" fmla="*/ 677 h 880"/>
                  <a:gd name="T74" fmla="*/ 280 w 807"/>
                  <a:gd name="T75" fmla="*/ 657 h 880"/>
                  <a:gd name="T76" fmla="*/ 95 w 807"/>
                  <a:gd name="T77" fmla="*/ 200 h 880"/>
                  <a:gd name="T78" fmla="*/ 93 w 807"/>
                  <a:gd name="T79" fmla="*/ 321 h 880"/>
                  <a:gd name="T80" fmla="*/ 120 w 807"/>
                  <a:gd name="T81" fmla="*/ 382 h 880"/>
                  <a:gd name="T82" fmla="*/ 127 w 807"/>
                  <a:gd name="T83" fmla="*/ 302 h 880"/>
                  <a:gd name="T84" fmla="*/ 183 w 807"/>
                  <a:gd name="T85" fmla="*/ 233 h 880"/>
                  <a:gd name="T86" fmla="*/ 333 w 807"/>
                  <a:gd name="T87" fmla="*/ 139 h 880"/>
                  <a:gd name="T88" fmla="*/ 464 w 807"/>
                  <a:gd name="T89" fmla="*/ 138 h 880"/>
                  <a:gd name="T90" fmla="*/ 622 w 807"/>
                  <a:gd name="T91" fmla="*/ 167 h 880"/>
                  <a:gd name="T92" fmla="*/ 404 w 807"/>
                  <a:gd name="T93" fmla="*/ 0 h 880"/>
                  <a:gd name="T94" fmla="*/ 95 w 807"/>
                  <a:gd name="T95" fmla="*/ 20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7" h="880">
                    <a:moveTo>
                      <a:pt x="804" y="866"/>
                    </a:moveTo>
                    <a:cubicBezTo>
                      <a:pt x="807" y="873"/>
                      <a:pt x="802" y="880"/>
                      <a:pt x="795" y="880"/>
                    </a:cubicBezTo>
                    <a:cubicBezTo>
                      <a:pt x="498" y="880"/>
                      <a:pt x="498" y="880"/>
                      <a:pt x="498" y="880"/>
                    </a:cubicBezTo>
                    <a:cubicBezTo>
                      <a:pt x="495" y="880"/>
                      <a:pt x="493" y="877"/>
                      <a:pt x="493" y="874"/>
                    </a:cubicBezTo>
                    <a:cubicBezTo>
                      <a:pt x="534" y="699"/>
                      <a:pt x="534" y="699"/>
                      <a:pt x="534" y="699"/>
                    </a:cubicBezTo>
                    <a:cubicBezTo>
                      <a:pt x="534" y="697"/>
                      <a:pt x="536" y="695"/>
                      <a:pt x="538" y="695"/>
                    </a:cubicBezTo>
                    <a:cubicBezTo>
                      <a:pt x="558" y="696"/>
                      <a:pt x="653" y="700"/>
                      <a:pt x="707" y="725"/>
                    </a:cubicBezTo>
                    <a:cubicBezTo>
                      <a:pt x="756" y="747"/>
                      <a:pt x="792" y="833"/>
                      <a:pt x="804" y="866"/>
                    </a:cubicBezTo>
                    <a:close/>
                    <a:moveTo>
                      <a:pt x="605" y="189"/>
                    </a:moveTo>
                    <a:cubicBezTo>
                      <a:pt x="605" y="184"/>
                      <a:pt x="602" y="179"/>
                      <a:pt x="597" y="178"/>
                    </a:cubicBezTo>
                    <a:cubicBezTo>
                      <a:pt x="570" y="171"/>
                      <a:pt x="544" y="166"/>
                      <a:pt x="517" y="162"/>
                    </a:cubicBezTo>
                    <a:cubicBezTo>
                      <a:pt x="442" y="151"/>
                      <a:pt x="366" y="151"/>
                      <a:pt x="291" y="162"/>
                    </a:cubicBezTo>
                    <a:cubicBezTo>
                      <a:pt x="263" y="166"/>
                      <a:pt x="236" y="171"/>
                      <a:pt x="209" y="178"/>
                    </a:cubicBezTo>
                    <a:cubicBezTo>
                      <a:pt x="204" y="179"/>
                      <a:pt x="200" y="184"/>
                      <a:pt x="200" y="189"/>
                    </a:cubicBezTo>
                    <a:cubicBezTo>
                      <a:pt x="200" y="206"/>
                      <a:pt x="200" y="223"/>
                      <a:pt x="200" y="240"/>
                    </a:cubicBezTo>
                    <a:cubicBezTo>
                      <a:pt x="200" y="254"/>
                      <a:pt x="200" y="268"/>
                      <a:pt x="200" y="282"/>
                    </a:cubicBezTo>
                    <a:cubicBezTo>
                      <a:pt x="193" y="323"/>
                      <a:pt x="193" y="323"/>
                      <a:pt x="193" y="323"/>
                    </a:cubicBezTo>
                    <a:cubicBezTo>
                      <a:pt x="193" y="330"/>
                      <a:pt x="192" y="337"/>
                      <a:pt x="192" y="344"/>
                    </a:cubicBezTo>
                    <a:cubicBezTo>
                      <a:pt x="192" y="370"/>
                      <a:pt x="195" y="409"/>
                      <a:pt x="204" y="432"/>
                    </a:cubicBezTo>
                    <a:cubicBezTo>
                      <a:pt x="204" y="432"/>
                      <a:pt x="204" y="432"/>
                      <a:pt x="204" y="432"/>
                    </a:cubicBezTo>
                    <a:cubicBezTo>
                      <a:pt x="224" y="450"/>
                      <a:pt x="225" y="335"/>
                      <a:pt x="278" y="306"/>
                    </a:cubicBezTo>
                    <a:cubicBezTo>
                      <a:pt x="288" y="302"/>
                      <a:pt x="288" y="302"/>
                      <a:pt x="288" y="302"/>
                    </a:cubicBezTo>
                    <a:cubicBezTo>
                      <a:pt x="291" y="302"/>
                      <a:pt x="291" y="302"/>
                      <a:pt x="291" y="302"/>
                    </a:cubicBezTo>
                    <a:cubicBezTo>
                      <a:pt x="290" y="302"/>
                      <a:pt x="290" y="302"/>
                      <a:pt x="289" y="302"/>
                    </a:cubicBezTo>
                    <a:cubicBezTo>
                      <a:pt x="568" y="450"/>
                      <a:pt x="568" y="450"/>
                      <a:pt x="568" y="450"/>
                    </a:cubicBezTo>
                    <a:cubicBezTo>
                      <a:pt x="568" y="450"/>
                      <a:pt x="568" y="450"/>
                      <a:pt x="569" y="450"/>
                    </a:cubicBezTo>
                    <a:cubicBezTo>
                      <a:pt x="577" y="450"/>
                      <a:pt x="577" y="450"/>
                      <a:pt x="577" y="450"/>
                    </a:cubicBezTo>
                    <a:cubicBezTo>
                      <a:pt x="582" y="450"/>
                      <a:pt x="582" y="450"/>
                      <a:pt x="582" y="450"/>
                    </a:cubicBezTo>
                    <a:cubicBezTo>
                      <a:pt x="583" y="450"/>
                      <a:pt x="584" y="450"/>
                      <a:pt x="585" y="449"/>
                    </a:cubicBezTo>
                    <a:cubicBezTo>
                      <a:pt x="588" y="445"/>
                      <a:pt x="591" y="442"/>
                      <a:pt x="593" y="439"/>
                    </a:cubicBezTo>
                    <a:cubicBezTo>
                      <a:pt x="605" y="424"/>
                      <a:pt x="607" y="417"/>
                      <a:pt x="608" y="416"/>
                    </a:cubicBezTo>
                    <a:cubicBezTo>
                      <a:pt x="608" y="417"/>
                      <a:pt x="608" y="417"/>
                      <a:pt x="608" y="417"/>
                    </a:cubicBezTo>
                    <a:cubicBezTo>
                      <a:pt x="616" y="394"/>
                      <a:pt x="615" y="370"/>
                      <a:pt x="615" y="344"/>
                    </a:cubicBezTo>
                    <a:cubicBezTo>
                      <a:pt x="615" y="337"/>
                      <a:pt x="615" y="331"/>
                      <a:pt x="614" y="324"/>
                    </a:cubicBezTo>
                    <a:cubicBezTo>
                      <a:pt x="605" y="278"/>
                      <a:pt x="605" y="278"/>
                      <a:pt x="605" y="278"/>
                    </a:cubicBezTo>
                    <a:cubicBezTo>
                      <a:pt x="605" y="265"/>
                      <a:pt x="605" y="253"/>
                      <a:pt x="605" y="240"/>
                    </a:cubicBezTo>
                    <a:cubicBezTo>
                      <a:pt x="605" y="223"/>
                      <a:pt x="605" y="206"/>
                      <a:pt x="605" y="189"/>
                    </a:cubicBezTo>
                    <a:close/>
                    <a:moveTo>
                      <a:pt x="274" y="699"/>
                    </a:moveTo>
                    <a:cubicBezTo>
                      <a:pt x="274" y="697"/>
                      <a:pt x="272" y="695"/>
                      <a:pt x="270" y="695"/>
                    </a:cubicBezTo>
                    <a:cubicBezTo>
                      <a:pt x="250" y="696"/>
                      <a:pt x="155" y="700"/>
                      <a:pt x="100" y="725"/>
                    </a:cubicBezTo>
                    <a:cubicBezTo>
                      <a:pt x="51" y="747"/>
                      <a:pt x="15" y="833"/>
                      <a:pt x="3" y="866"/>
                    </a:cubicBezTo>
                    <a:cubicBezTo>
                      <a:pt x="1" y="873"/>
                      <a:pt x="6" y="880"/>
                      <a:pt x="12" y="880"/>
                    </a:cubicBezTo>
                    <a:cubicBezTo>
                      <a:pt x="310" y="880"/>
                      <a:pt x="310" y="880"/>
                      <a:pt x="310" y="880"/>
                    </a:cubicBezTo>
                    <a:cubicBezTo>
                      <a:pt x="313" y="880"/>
                      <a:pt x="315" y="877"/>
                      <a:pt x="315" y="874"/>
                    </a:cubicBezTo>
                    <a:lnTo>
                      <a:pt x="274" y="699"/>
                    </a:lnTo>
                    <a:close/>
                    <a:moveTo>
                      <a:pt x="502" y="701"/>
                    </a:moveTo>
                    <a:cubicBezTo>
                      <a:pt x="512" y="692"/>
                      <a:pt x="518" y="685"/>
                      <a:pt x="518" y="684"/>
                    </a:cubicBezTo>
                    <a:cubicBezTo>
                      <a:pt x="522" y="679"/>
                      <a:pt x="522" y="679"/>
                      <a:pt x="522" y="679"/>
                    </a:cubicBezTo>
                    <a:cubicBezTo>
                      <a:pt x="522" y="662"/>
                      <a:pt x="522" y="662"/>
                      <a:pt x="522" y="662"/>
                    </a:cubicBezTo>
                    <a:cubicBezTo>
                      <a:pt x="522" y="636"/>
                      <a:pt x="522" y="636"/>
                      <a:pt x="522" y="636"/>
                    </a:cubicBezTo>
                    <a:cubicBezTo>
                      <a:pt x="542" y="611"/>
                      <a:pt x="576" y="526"/>
                      <a:pt x="586" y="501"/>
                    </a:cubicBezTo>
                    <a:cubicBezTo>
                      <a:pt x="586" y="501"/>
                      <a:pt x="587" y="500"/>
                      <a:pt x="587" y="500"/>
                    </a:cubicBezTo>
                    <a:cubicBezTo>
                      <a:pt x="588" y="499"/>
                      <a:pt x="589" y="499"/>
                      <a:pt x="590" y="498"/>
                    </a:cubicBezTo>
                    <a:cubicBezTo>
                      <a:pt x="610" y="484"/>
                      <a:pt x="615" y="462"/>
                      <a:pt x="617" y="452"/>
                    </a:cubicBezTo>
                    <a:cubicBezTo>
                      <a:pt x="617" y="452"/>
                      <a:pt x="617" y="451"/>
                      <a:pt x="617" y="451"/>
                    </a:cubicBezTo>
                    <a:cubicBezTo>
                      <a:pt x="594" y="462"/>
                      <a:pt x="594" y="462"/>
                      <a:pt x="594" y="462"/>
                    </a:cubicBezTo>
                    <a:cubicBezTo>
                      <a:pt x="591" y="470"/>
                      <a:pt x="585" y="480"/>
                      <a:pt x="573" y="485"/>
                    </a:cubicBezTo>
                    <a:cubicBezTo>
                      <a:pt x="571" y="487"/>
                      <a:pt x="570" y="488"/>
                      <a:pt x="569" y="491"/>
                    </a:cubicBezTo>
                    <a:cubicBezTo>
                      <a:pt x="551" y="537"/>
                      <a:pt x="517" y="614"/>
                      <a:pt x="505" y="625"/>
                    </a:cubicBezTo>
                    <a:cubicBezTo>
                      <a:pt x="485" y="643"/>
                      <a:pt x="433" y="676"/>
                      <a:pt x="404" y="676"/>
                    </a:cubicBezTo>
                    <a:cubicBezTo>
                      <a:pt x="375" y="676"/>
                      <a:pt x="323" y="643"/>
                      <a:pt x="303" y="625"/>
                    </a:cubicBezTo>
                    <a:cubicBezTo>
                      <a:pt x="290" y="614"/>
                      <a:pt x="257" y="537"/>
                      <a:pt x="239" y="491"/>
                    </a:cubicBezTo>
                    <a:cubicBezTo>
                      <a:pt x="238" y="488"/>
                      <a:pt x="236" y="487"/>
                      <a:pt x="234" y="485"/>
                    </a:cubicBezTo>
                    <a:cubicBezTo>
                      <a:pt x="223" y="480"/>
                      <a:pt x="217" y="470"/>
                      <a:pt x="214" y="462"/>
                    </a:cubicBezTo>
                    <a:cubicBezTo>
                      <a:pt x="191" y="451"/>
                      <a:pt x="191" y="451"/>
                      <a:pt x="191" y="451"/>
                    </a:cubicBezTo>
                    <a:cubicBezTo>
                      <a:pt x="191" y="452"/>
                      <a:pt x="191" y="452"/>
                      <a:pt x="191" y="453"/>
                    </a:cubicBezTo>
                    <a:cubicBezTo>
                      <a:pt x="193" y="465"/>
                      <a:pt x="199" y="484"/>
                      <a:pt x="217" y="498"/>
                    </a:cubicBezTo>
                    <a:cubicBezTo>
                      <a:pt x="218" y="498"/>
                      <a:pt x="219" y="499"/>
                      <a:pt x="220" y="500"/>
                    </a:cubicBezTo>
                    <a:cubicBezTo>
                      <a:pt x="221" y="500"/>
                      <a:pt x="221" y="501"/>
                      <a:pt x="222" y="501"/>
                    </a:cubicBezTo>
                    <a:cubicBezTo>
                      <a:pt x="229" y="519"/>
                      <a:pt x="248" y="567"/>
                      <a:pt x="266" y="602"/>
                    </a:cubicBezTo>
                    <a:cubicBezTo>
                      <a:pt x="268" y="606"/>
                      <a:pt x="270" y="609"/>
                      <a:pt x="271" y="612"/>
                    </a:cubicBezTo>
                    <a:cubicBezTo>
                      <a:pt x="277" y="622"/>
                      <a:pt x="282" y="630"/>
                      <a:pt x="286" y="636"/>
                    </a:cubicBezTo>
                    <a:cubicBezTo>
                      <a:pt x="286" y="662"/>
                      <a:pt x="286" y="662"/>
                      <a:pt x="286" y="662"/>
                    </a:cubicBezTo>
                    <a:cubicBezTo>
                      <a:pt x="286" y="679"/>
                      <a:pt x="286" y="679"/>
                      <a:pt x="286" y="679"/>
                    </a:cubicBezTo>
                    <a:cubicBezTo>
                      <a:pt x="289" y="684"/>
                      <a:pt x="289" y="684"/>
                      <a:pt x="289" y="684"/>
                    </a:cubicBezTo>
                    <a:cubicBezTo>
                      <a:pt x="290" y="685"/>
                      <a:pt x="295" y="692"/>
                      <a:pt x="306" y="701"/>
                    </a:cubicBezTo>
                    <a:cubicBezTo>
                      <a:pt x="306" y="676"/>
                      <a:pt x="306" y="676"/>
                      <a:pt x="306" y="676"/>
                    </a:cubicBezTo>
                    <a:cubicBezTo>
                      <a:pt x="306" y="652"/>
                      <a:pt x="306" y="652"/>
                      <a:pt x="306" y="652"/>
                    </a:cubicBezTo>
                    <a:cubicBezTo>
                      <a:pt x="332" y="671"/>
                      <a:pt x="375" y="695"/>
                      <a:pt x="404" y="695"/>
                    </a:cubicBezTo>
                    <a:cubicBezTo>
                      <a:pt x="433" y="695"/>
                      <a:pt x="475" y="671"/>
                      <a:pt x="502" y="652"/>
                    </a:cubicBezTo>
                    <a:cubicBezTo>
                      <a:pt x="502" y="676"/>
                      <a:pt x="502" y="676"/>
                      <a:pt x="502" y="676"/>
                    </a:cubicBezTo>
                    <a:lnTo>
                      <a:pt x="502" y="701"/>
                    </a:lnTo>
                    <a:close/>
                    <a:moveTo>
                      <a:pt x="552" y="676"/>
                    </a:moveTo>
                    <a:cubicBezTo>
                      <a:pt x="555" y="676"/>
                      <a:pt x="558" y="676"/>
                      <a:pt x="561" y="677"/>
                    </a:cubicBezTo>
                    <a:cubicBezTo>
                      <a:pt x="582" y="677"/>
                      <a:pt x="613" y="669"/>
                      <a:pt x="645" y="637"/>
                    </a:cubicBezTo>
                    <a:cubicBezTo>
                      <a:pt x="601" y="633"/>
                      <a:pt x="596" y="574"/>
                      <a:pt x="594" y="534"/>
                    </a:cubicBezTo>
                    <a:cubicBezTo>
                      <a:pt x="589" y="544"/>
                      <a:pt x="584" y="556"/>
                      <a:pt x="579" y="569"/>
                    </a:cubicBezTo>
                    <a:cubicBezTo>
                      <a:pt x="551" y="631"/>
                      <a:pt x="539" y="647"/>
                      <a:pt x="531" y="655"/>
                    </a:cubicBezTo>
                    <a:cubicBezTo>
                      <a:pt x="530" y="655"/>
                      <a:pt x="529" y="656"/>
                      <a:pt x="528" y="657"/>
                    </a:cubicBezTo>
                    <a:cubicBezTo>
                      <a:pt x="528" y="670"/>
                      <a:pt x="528" y="670"/>
                      <a:pt x="528" y="670"/>
                    </a:cubicBezTo>
                    <a:cubicBezTo>
                      <a:pt x="528" y="670"/>
                      <a:pt x="537" y="675"/>
                      <a:pt x="552" y="676"/>
                    </a:cubicBezTo>
                    <a:close/>
                    <a:moveTo>
                      <a:pt x="422" y="783"/>
                    </a:moveTo>
                    <a:cubicBezTo>
                      <a:pt x="422" y="782"/>
                      <a:pt x="422" y="781"/>
                      <a:pt x="423" y="780"/>
                    </a:cubicBezTo>
                    <a:cubicBezTo>
                      <a:pt x="451" y="735"/>
                      <a:pt x="451" y="735"/>
                      <a:pt x="451" y="735"/>
                    </a:cubicBezTo>
                    <a:cubicBezTo>
                      <a:pt x="452" y="733"/>
                      <a:pt x="452" y="732"/>
                      <a:pt x="451" y="730"/>
                    </a:cubicBezTo>
                    <a:cubicBezTo>
                      <a:pt x="450" y="729"/>
                      <a:pt x="449" y="729"/>
                      <a:pt x="448" y="729"/>
                    </a:cubicBezTo>
                    <a:cubicBezTo>
                      <a:pt x="439" y="726"/>
                      <a:pt x="420" y="722"/>
                      <a:pt x="405" y="722"/>
                    </a:cubicBezTo>
                    <a:cubicBezTo>
                      <a:pt x="390" y="722"/>
                      <a:pt x="369" y="726"/>
                      <a:pt x="360" y="729"/>
                    </a:cubicBezTo>
                    <a:cubicBezTo>
                      <a:pt x="359" y="729"/>
                      <a:pt x="358" y="730"/>
                      <a:pt x="357" y="730"/>
                    </a:cubicBezTo>
                    <a:cubicBezTo>
                      <a:pt x="356" y="732"/>
                      <a:pt x="356" y="733"/>
                      <a:pt x="357" y="735"/>
                    </a:cubicBezTo>
                    <a:cubicBezTo>
                      <a:pt x="385" y="780"/>
                      <a:pt x="385" y="780"/>
                      <a:pt x="385" y="780"/>
                    </a:cubicBezTo>
                    <a:cubicBezTo>
                      <a:pt x="386" y="781"/>
                      <a:pt x="386" y="782"/>
                      <a:pt x="386" y="784"/>
                    </a:cubicBezTo>
                    <a:cubicBezTo>
                      <a:pt x="353" y="874"/>
                      <a:pt x="353" y="874"/>
                      <a:pt x="353" y="874"/>
                    </a:cubicBezTo>
                    <a:cubicBezTo>
                      <a:pt x="352" y="876"/>
                      <a:pt x="354" y="880"/>
                      <a:pt x="357" y="880"/>
                    </a:cubicBezTo>
                    <a:cubicBezTo>
                      <a:pt x="449" y="880"/>
                      <a:pt x="449" y="880"/>
                      <a:pt x="449" y="880"/>
                    </a:cubicBezTo>
                    <a:cubicBezTo>
                      <a:pt x="452" y="880"/>
                      <a:pt x="454" y="877"/>
                      <a:pt x="453" y="874"/>
                    </a:cubicBezTo>
                    <a:lnTo>
                      <a:pt x="422" y="783"/>
                    </a:lnTo>
                    <a:close/>
                    <a:moveTo>
                      <a:pt x="229" y="569"/>
                    </a:moveTo>
                    <a:cubicBezTo>
                      <a:pt x="223" y="556"/>
                      <a:pt x="218" y="543"/>
                      <a:pt x="214" y="533"/>
                    </a:cubicBezTo>
                    <a:cubicBezTo>
                      <a:pt x="212" y="573"/>
                      <a:pt x="207" y="633"/>
                      <a:pt x="163" y="637"/>
                    </a:cubicBezTo>
                    <a:cubicBezTo>
                      <a:pt x="195" y="669"/>
                      <a:pt x="225" y="677"/>
                      <a:pt x="247" y="677"/>
                    </a:cubicBezTo>
                    <a:cubicBezTo>
                      <a:pt x="250" y="676"/>
                      <a:pt x="254" y="676"/>
                      <a:pt x="257" y="676"/>
                    </a:cubicBezTo>
                    <a:cubicBezTo>
                      <a:pt x="271" y="675"/>
                      <a:pt x="280" y="670"/>
                      <a:pt x="280" y="670"/>
                    </a:cubicBezTo>
                    <a:cubicBezTo>
                      <a:pt x="280" y="657"/>
                      <a:pt x="280" y="657"/>
                      <a:pt x="280" y="657"/>
                    </a:cubicBezTo>
                    <a:cubicBezTo>
                      <a:pt x="279" y="656"/>
                      <a:pt x="278" y="655"/>
                      <a:pt x="277" y="655"/>
                    </a:cubicBezTo>
                    <a:cubicBezTo>
                      <a:pt x="269" y="647"/>
                      <a:pt x="256" y="631"/>
                      <a:pt x="229" y="569"/>
                    </a:cubicBezTo>
                    <a:close/>
                    <a:moveTo>
                      <a:pt x="95" y="200"/>
                    </a:moveTo>
                    <a:cubicBezTo>
                      <a:pt x="95" y="282"/>
                      <a:pt x="95" y="282"/>
                      <a:pt x="95" y="282"/>
                    </a:cubicBezTo>
                    <a:cubicBezTo>
                      <a:pt x="88" y="286"/>
                      <a:pt x="83" y="293"/>
                      <a:pt x="83" y="302"/>
                    </a:cubicBezTo>
                    <a:cubicBezTo>
                      <a:pt x="83" y="310"/>
                      <a:pt x="87" y="317"/>
                      <a:pt x="93" y="321"/>
                    </a:cubicBezTo>
                    <a:cubicBezTo>
                      <a:pt x="76" y="382"/>
                      <a:pt x="76" y="382"/>
                      <a:pt x="76" y="382"/>
                    </a:cubicBezTo>
                    <a:cubicBezTo>
                      <a:pt x="90" y="382"/>
                      <a:pt x="90" y="382"/>
                      <a:pt x="90" y="382"/>
                    </a:cubicBezTo>
                    <a:cubicBezTo>
                      <a:pt x="120" y="382"/>
                      <a:pt x="120" y="382"/>
                      <a:pt x="120" y="382"/>
                    </a:cubicBezTo>
                    <a:cubicBezTo>
                      <a:pt x="134" y="382"/>
                      <a:pt x="134" y="382"/>
                      <a:pt x="134" y="382"/>
                    </a:cubicBezTo>
                    <a:cubicBezTo>
                      <a:pt x="117" y="321"/>
                      <a:pt x="117" y="321"/>
                      <a:pt x="117" y="321"/>
                    </a:cubicBezTo>
                    <a:cubicBezTo>
                      <a:pt x="123" y="317"/>
                      <a:pt x="127" y="310"/>
                      <a:pt x="127" y="302"/>
                    </a:cubicBezTo>
                    <a:cubicBezTo>
                      <a:pt x="127" y="293"/>
                      <a:pt x="122" y="286"/>
                      <a:pt x="115" y="282"/>
                    </a:cubicBezTo>
                    <a:cubicBezTo>
                      <a:pt x="115" y="204"/>
                      <a:pt x="115" y="204"/>
                      <a:pt x="115" y="204"/>
                    </a:cubicBezTo>
                    <a:cubicBezTo>
                      <a:pt x="183" y="233"/>
                      <a:pt x="183" y="233"/>
                      <a:pt x="183" y="233"/>
                    </a:cubicBezTo>
                    <a:cubicBezTo>
                      <a:pt x="183" y="167"/>
                      <a:pt x="183" y="167"/>
                      <a:pt x="183" y="167"/>
                    </a:cubicBezTo>
                    <a:cubicBezTo>
                      <a:pt x="196" y="164"/>
                      <a:pt x="196" y="164"/>
                      <a:pt x="196" y="164"/>
                    </a:cubicBezTo>
                    <a:cubicBezTo>
                      <a:pt x="241" y="151"/>
                      <a:pt x="287" y="143"/>
                      <a:pt x="333" y="139"/>
                    </a:cubicBezTo>
                    <a:cubicBezTo>
                      <a:pt x="337" y="139"/>
                      <a:pt x="341" y="138"/>
                      <a:pt x="344" y="138"/>
                    </a:cubicBezTo>
                    <a:cubicBezTo>
                      <a:pt x="364" y="137"/>
                      <a:pt x="383" y="136"/>
                      <a:pt x="403" y="136"/>
                    </a:cubicBezTo>
                    <a:cubicBezTo>
                      <a:pt x="423" y="136"/>
                      <a:pt x="444" y="137"/>
                      <a:pt x="464" y="138"/>
                    </a:cubicBezTo>
                    <a:cubicBezTo>
                      <a:pt x="467" y="138"/>
                      <a:pt x="470" y="139"/>
                      <a:pt x="472" y="139"/>
                    </a:cubicBezTo>
                    <a:cubicBezTo>
                      <a:pt x="519" y="143"/>
                      <a:pt x="565" y="151"/>
                      <a:pt x="610" y="164"/>
                    </a:cubicBezTo>
                    <a:cubicBezTo>
                      <a:pt x="622" y="167"/>
                      <a:pt x="622" y="167"/>
                      <a:pt x="622" y="167"/>
                    </a:cubicBezTo>
                    <a:cubicBezTo>
                      <a:pt x="622" y="233"/>
                      <a:pt x="622" y="233"/>
                      <a:pt x="622" y="233"/>
                    </a:cubicBezTo>
                    <a:cubicBezTo>
                      <a:pt x="806" y="155"/>
                      <a:pt x="806" y="155"/>
                      <a:pt x="806" y="155"/>
                    </a:cubicBezTo>
                    <a:cubicBezTo>
                      <a:pt x="404" y="0"/>
                      <a:pt x="404" y="0"/>
                      <a:pt x="404" y="0"/>
                    </a:cubicBezTo>
                    <a:cubicBezTo>
                      <a:pt x="0" y="155"/>
                      <a:pt x="0" y="155"/>
                      <a:pt x="0" y="155"/>
                    </a:cubicBezTo>
                    <a:cubicBezTo>
                      <a:pt x="96" y="196"/>
                      <a:pt x="96" y="196"/>
                      <a:pt x="96" y="196"/>
                    </a:cubicBezTo>
                    <a:cubicBezTo>
                      <a:pt x="96" y="197"/>
                      <a:pt x="95" y="199"/>
                      <a:pt x="95" y="20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1" name="Group 120">
            <a:extLst>
              <a:ext uri="{FF2B5EF4-FFF2-40B4-BE49-F238E27FC236}">
                <a16:creationId xmlns:a16="http://schemas.microsoft.com/office/drawing/2014/main" id="{9F1B54CB-DD8A-480A-8214-5275AD921B4E}"/>
              </a:ext>
            </a:extLst>
          </p:cNvPr>
          <p:cNvGrpSpPr/>
          <p:nvPr/>
        </p:nvGrpSpPr>
        <p:grpSpPr>
          <a:xfrm>
            <a:off x="5961138" y="1591357"/>
            <a:ext cx="1589688" cy="2177235"/>
            <a:chOff x="6001684" y="1611720"/>
            <a:chExt cx="1589688" cy="2177235"/>
          </a:xfrm>
        </p:grpSpPr>
        <p:grpSp>
          <p:nvGrpSpPr>
            <p:cNvPr id="48" name="Group 47">
              <a:extLst>
                <a:ext uri="{FF2B5EF4-FFF2-40B4-BE49-F238E27FC236}">
                  <a16:creationId xmlns:a16="http://schemas.microsoft.com/office/drawing/2014/main" id="{4A77AFB8-777D-4B02-B36B-5780612D214A}"/>
                </a:ext>
              </a:extLst>
            </p:cNvPr>
            <p:cNvGrpSpPr>
              <a:grpSpLocks/>
            </p:cNvGrpSpPr>
            <p:nvPr/>
          </p:nvGrpSpPr>
          <p:grpSpPr>
            <a:xfrm>
              <a:off x="6106475" y="1611720"/>
              <a:ext cx="1380106" cy="1096604"/>
              <a:chOff x="2903302" y="1906042"/>
              <a:chExt cx="1840142" cy="1462139"/>
            </a:xfrm>
          </p:grpSpPr>
          <p:grpSp>
            <p:nvGrpSpPr>
              <p:cNvPr id="49" name="Group 48">
                <a:extLst>
                  <a:ext uri="{FF2B5EF4-FFF2-40B4-BE49-F238E27FC236}">
                    <a16:creationId xmlns:a16="http://schemas.microsoft.com/office/drawing/2014/main" id="{EF631390-74EC-4CEF-BDBC-D509EAAE820D}"/>
                  </a:ext>
                </a:extLst>
              </p:cNvPr>
              <p:cNvGrpSpPr/>
              <p:nvPr/>
            </p:nvGrpSpPr>
            <p:grpSpPr>
              <a:xfrm>
                <a:off x="2903302" y="1906042"/>
                <a:ext cx="1840142" cy="1462138"/>
                <a:chOff x="3031532" y="1906042"/>
                <a:chExt cx="1840142" cy="1462138"/>
              </a:xfrm>
            </p:grpSpPr>
            <p:grpSp>
              <p:nvGrpSpPr>
                <p:cNvPr id="51" name="Group 50">
                  <a:extLst>
                    <a:ext uri="{FF2B5EF4-FFF2-40B4-BE49-F238E27FC236}">
                      <a16:creationId xmlns:a16="http://schemas.microsoft.com/office/drawing/2014/main" id="{AB7E8DEB-48FE-4A62-88AA-68B69F87E8B1}"/>
                    </a:ext>
                  </a:extLst>
                </p:cNvPr>
                <p:cNvGrpSpPr/>
                <p:nvPr/>
              </p:nvGrpSpPr>
              <p:grpSpPr>
                <a:xfrm>
                  <a:off x="3426977" y="1906042"/>
                  <a:ext cx="1049253" cy="1206903"/>
                  <a:chOff x="3555292" y="1733086"/>
                  <a:chExt cx="1049253" cy="1206903"/>
                </a:xfrm>
              </p:grpSpPr>
              <p:sp>
                <p:nvSpPr>
                  <p:cNvPr id="53" name="Arc 52">
                    <a:extLst>
                      <a:ext uri="{FF2B5EF4-FFF2-40B4-BE49-F238E27FC236}">
                        <a16:creationId xmlns:a16="http://schemas.microsoft.com/office/drawing/2014/main" id="{90796762-19AE-4B55-94AF-BD8F5D61496E}"/>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54" name="Arc 53">
                    <a:extLst>
                      <a:ext uri="{FF2B5EF4-FFF2-40B4-BE49-F238E27FC236}">
                        <a16:creationId xmlns:a16="http://schemas.microsoft.com/office/drawing/2014/main" id="{E933044B-2C6D-4505-8F84-79655E11550B}"/>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52" name="Straight Connector 51">
                  <a:extLst>
                    <a:ext uri="{FF2B5EF4-FFF2-40B4-BE49-F238E27FC236}">
                      <a16:creationId xmlns:a16="http://schemas.microsoft.com/office/drawing/2014/main" id="{F1483DC1-8110-4076-B414-48A90E94AA56}"/>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50" name="Straight Connector 49">
                <a:extLst>
                  <a:ext uri="{FF2B5EF4-FFF2-40B4-BE49-F238E27FC236}">
                    <a16:creationId xmlns:a16="http://schemas.microsoft.com/office/drawing/2014/main" id="{5E6420E7-C486-4406-999B-A183562CDCA4}"/>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114" name="ee4pContent1">
              <a:extLst>
                <a:ext uri="{FF2B5EF4-FFF2-40B4-BE49-F238E27FC236}">
                  <a16:creationId xmlns:a16="http://schemas.microsoft.com/office/drawing/2014/main" id="{67816152-6490-45EE-9522-1B6C0BD3AFC7}"/>
                </a:ext>
              </a:extLst>
            </p:cNvPr>
            <p:cNvSpPr txBox="1"/>
            <p:nvPr/>
          </p:nvSpPr>
          <p:spPr>
            <a:xfrm>
              <a:off x="6001684" y="2790076"/>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Americans will be more readily connected to </a:t>
              </a:r>
              <a:r>
                <a:rPr lang="en-US" sz="1400" b="1" dirty="0">
                  <a:solidFill>
                    <a:srgbClr val="164484"/>
                  </a:solidFill>
                  <a:latin typeface="+mj-lt"/>
                </a:rPr>
                <a:t>civil services </a:t>
              </a:r>
              <a:r>
                <a:rPr lang="en-US" sz="1400" dirty="0">
                  <a:solidFill>
                    <a:srgbClr val="000000"/>
                  </a:solidFill>
                  <a:latin typeface="+mj-lt"/>
                </a:rPr>
                <a:t>and resources</a:t>
              </a:r>
            </a:p>
          </p:txBody>
        </p:sp>
        <p:grpSp>
          <p:nvGrpSpPr>
            <p:cNvPr id="181" name="Group 180">
              <a:extLst>
                <a:ext uri="{FF2B5EF4-FFF2-40B4-BE49-F238E27FC236}">
                  <a16:creationId xmlns:a16="http://schemas.microsoft.com/office/drawing/2014/main" id="{1C3FAB1C-7D59-4828-865C-329A01347A1A}"/>
                </a:ext>
              </a:extLst>
            </p:cNvPr>
            <p:cNvGrpSpPr>
              <a:grpSpLocks noChangeAspect="1"/>
            </p:cNvGrpSpPr>
            <p:nvPr/>
          </p:nvGrpSpPr>
          <p:grpSpPr bwMode="auto">
            <a:xfrm>
              <a:off x="6498393" y="1729419"/>
              <a:ext cx="596271" cy="596271"/>
              <a:chOff x="2652" y="972"/>
              <a:chExt cx="2376" cy="2376"/>
            </a:xfrm>
          </p:grpSpPr>
          <p:sp>
            <p:nvSpPr>
              <p:cNvPr id="182" name="AutoShape 4">
                <a:extLst>
                  <a:ext uri="{FF2B5EF4-FFF2-40B4-BE49-F238E27FC236}">
                    <a16:creationId xmlns:a16="http://schemas.microsoft.com/office/drawing/2014/main" id="{307B0739-B17E-4C95-AF45-370792D85E38}"/>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9">
                <a:extLst>
                  <a:ext uri="{FF2B5EF4-FFF2-40B4-BE49-F238E27FC236}">
                    <a16:creationId xmlns:a16="http://schemas.microsoft.com/office/drawing/2014/main" id="{90EA781D-373E-42E9-95D9-A57608DD2BCA}"/>
                  </a:ext>
                </a:extLst>
              </p:cNvPr>
              <p:cNvSpPr>
                <a:spLocks noEditPoints="1"/>
              </p:cNvSpPr>
              <p:nvPr/>
            </p:nvSpPr>
            <p:spPr bwMode="auto">
              <a:xfrm>
                <a:off x="2797" y="1486"/>
                <a:ext cx="2086" cy="1348"/>
              </a:xfrm>
              <a:custGeom>
                <a:avLst/>
                <a:gdLst>
                  <a:gd name="T0" fmla="*/ 143 w 877"/>
                  <a:gd name="T1" fmla="*/ 309 h 567"/>
                  <a:gd name="T2" fmla="*/ 203 w 877"/>
                  <a:gd name="T3" fmla="*/ 309 h 567"/>
                  <a:gd name="T4" fmla="*/ 263 w 877"/>
                  <a:gd name="T5" fmla="*/ 309 h 567"/>
                  <a:gd name="T6" fmla="*/ 323 w 877"/>
                  <a:gd name="T7" fmla="*/ 309 h 567"/>
                  <a:gd name="T8" fmla="*/ 384 w 877"/>
                  <a:gd name="T9" fmla="*/ 309 h 567"/>
                  <a:gd name="T10" fmla="*/ 384 w 877"/>
                  <a:gd name="T11" fmla="*/ 309 h 567"/>
                  <a:gd name="T12" fmla="*/ 323 w 877"/>
                  <a:gd name="T13" fmla="*/ 371 h 567"/>
                  <a:gd name="T14" fmla="*/ 263 w 877"/>
                  <a:gd name="T15" fmla="*/ 371 h 567"/>
                  <a:gd name="T16" fmla="*/ 203 w 877"/>
                  <a:gd name="T17" fmla="*/ 371 h 567"/>
                  <a:gd name="T18" fmla="*/ 143 w 877"/>
                  <a:gd name="T19" fmla="*/ 371 h 567"/>
                  <a:gd name="T20" fmla="*/ 385 w 877"/>
                  <a:gd name="T21" fmla="*/ 48 h 567"/>
                  <a:gd name="T22" fmla="*/ 3 w 877"/>
                  <a:gd name="T23" fmla="*/ 183 h 567"/>
                  <a:gd name="T24" fmla="*/ 46 w 877"/>
                  <a:gd name="T25" fmla="*/ 515 h 567"/>
                  <a:gd name="T26" fmla="*/ 329 w 877"/>
                  <a:gd name="T27" fmla="*/ 515 h 567"/>
                  <a:gd name="T28" fmla="*/ 385 w 877"/>
                  <a:gd name="T29" fmla="*/ 230 h 567"/>
                  <a:gd name="T30" fmla="*/ 375 w 877"/>
                  <a:gd name="T31" fmla="*/ 74 h 567"/>
                  <a:gd name="T32" fmla="*/ 347 w 877"/>
                  <a:gd name="T33" fmla="*/ 151 h 567"/>
                  <a:gd name="T34" fmla="*/ 331 w 877"/>
                  <a:gd name="T35" fmla="*/ 230 h 567"/>
                  <a:gd name="T36" fmla="*/ 121 w 877"/>
                  <a:gd name="T37" fmla="*/ 230 h 567"/>
                  <a:gd name="T38" fmla="*/ 271 w 877"/>
                  <a:gd name="T39" fmla="*/ 104 h 567"/>
                  <a:gd name="T40" fmla="*/ 166 w 877"/>
                  <a:gd name="T41" fmla="*/ 134 h 567"/>
                  <a:gd name="T42" fmla="*/ 23 w 877"/>
                  <a:gd name="T43" fmla="*/ 176 h 567"/>
                  <a:gd name="T44" fmla="*/ 129 w 877"/>
                  <a:gd name="T45" fmla="*/ 206 h 567"/>
                  <a:gd name="T46" fmla="*/ 143 w 877"/>
                  <a:gd name="T47" fmla="*/ 496 h 567"/>
                  <a:gd name="T48" fmla="*/ 241 w 877"/>
                  <a:gd name="T49" fmla="*/ 515 h 567"/>
                  <a:gd name="T50" fmla="*/ 345 w 877"/>
                  <a:gd name="T51" fmla="*/ 494 h 567"/>
                  <a:gd name="T52" fmla="*/ 461 w 877"/>
                  <a:gd name="T53" fmla="*/ 290 h 567"/>
                  <a:gd name="T54" fmla="*/ 461 w 877"/>
                  <a:gd name="T55" fmla="*/ 371 h 567"/>
                  <a:gd name="T56" fmla="*/ 106 w 877"/>
                  <a:gd name="T57" fmla="*/ 371 h 567"/>
                  <a:gd name="T58" fmla="*/ 106 w 877"/>
                  <a:gd name="T59" fmla="*/ 290 h 567"/>
                  <a:gd name="T60" fmla="*/ 386 w 877"/>
                  <a:gd name="T61" fmla="*/ 141 h 567"/>
                  <a:gd name="T62" fmla="*/ 485 w 877"/>
                  <a:gd name="T63" fmla="*/ 116 h 567"/>
                  <a:gd name="T64" fmla="*/ 554 w 877"/>
                  <a:gd name="T65" fmla="*/ 22 h 567"/>
                  <a:gd name="T66" fmla="*/ 384 w 877"/>
                  <a:gd name="T67" fmla="*/ 371 h 567"/>
                  <a:gd name="T68" fmla="*/ 323 w 877"/>
                  <a:gd name="T69" fmla="*/ 371 h 567"/>
                  <a:gd name="T70" fmla="*/ 263 w 877"/>
                  <a:gd name="T71" fmla="*/ 371 h 567"/>
                  <a:gd name="T72" fmla="*/ 203 w 877"/>
                  <a:gd name="T73" fmla="*/ 371 h 567"/>
                  <a:gd name="T74" fmla="*/ 143 w 877"/>
                  <a:gd name="T75" fmla="*/ 371 h 567"/>
                  <a:gd name="T76" fmla="*/ 814 w 877"/>
                  <a:gd name="T77" fmla="*/ 189 h 567"/>
                  <a:gd name="T78" fmla="*/ 543 w 877"/>
                  <a:gd name="T79" fmla="*/ 515 h 567"/>
                  <a:gd name="T80" fmla="*/ 877 w 877"/>
                  <a:gd name="T81" fmla="*/ 494 h 567"/>
                  <a:gd name="T82" fmla="*/ 624 w 877"/>
                  <a:gd name="T83" fmla="*/ 265 h 567"/>
                  <a:gd name="T84" fmla="*/ 758 w 877"/>
                  <a:gd name="T85" fmla="*/ 515 h 567"/>
                  <a:gd name="T86" fmla="*/ 711 w 877"/>
                  <a:gd name="T87" fmla="*/ 445 h 567"/>
                  <a:gd name="T88" fmla="*/ 707 w 877"/>
                  <a:gd name="T89" fmla="*/ 354 h 567"/>
                  <a:gd name="T90" fmla="*/ 787 w 877"/>
                  <a:gd name="T91" fmla="*/ 354 h 567"/>
                  <a:gd name="T92" fmla="*/ 143 w 877"/>
                  <a:gd name="T93" fmla="*/ 309 h 567"/>
                  <a:gd name="T94" fmla="*/ 203 w 877"/>
                  <a:gd name="T95" fmla="*/ 309 h 567"/>
                  <a:gd name="T96" fmla="*/ 263 w 877"/>
                  <a:gd name="T97" fmla="*/ 309 h 567"/>
                  <a:gd name="T98" fmla="*/ 323 w 877"/>
                  <a:gd name="T99" fmla="*/ 309 h 567"/>
                  <a:gd name="T100" fmla="*/ 384 w 877"/>
                  <a:gd name="T101" fmla="*/ 309 h 567"/>
                  <a:gd name="T102" fmla="*/ 384 w 877"/>
                  <a:gd name="T103" fmla="*/ 309 h 567"/>
                  <a:gd name="T104" fmla="*/ 323 w 877"/>
                  <a:gd name="T105" fmla="*/ 309 h 567"/>
                  <a:gd name="T106" fmla="*/ 263 w 877"/>
                  <a:gd name="T107" fmla="*/ 309 h 567"/>
                  <a:gd name="T108" fmla="*/ 203 w 877"/>
                  <a:gd name="T109" fmla="*/ 309 h 567"/>
                  <a:gd name="T110" fmla="*/ 143 w 877"/>
                  <a:gd name="T111" fmla="*/ 309 h 567"/>
                  <a:gd name="T112" fmla="*/ 735 w 877"/>
                  <a:gd name="T113" fmla="*/ 139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7" h="567">
                    <a:moveTo>
                      <a:pt x="143" y="309"/>
                    </a:moveTo>
                    <a:cubicBezTo>
                      <a:pt x="143" y="371"/>
                      <a:pt x="143" y="371"/>
                      <a:pt x="143" y="371"/>
                    </a:cubicBezTo>
                    <a:cubicBezTo>
                      <a:pt x="183" y="371"/>
                      <a:pt x="183" y="371"/>
                      <a:pt x="183" y="371"/>
                    </a:cubicBezTo>
                    <a:cubicBezTo>
                      <a:pt x="183" y="309"/>
                      <a:pt x="183" y="309"/>
                      <a:pt x="183" y="309"/>
                    </a:cubicBezTo>
                    <a:lnTo>
                      <a:pt x="143" y="309"/>
                    </a:lnTo>
                    <a:close/>
                    <a:moveTo>
                      <a:pt x="203" y="309"/>
                    </a:moveTo>
                    <a:cubicBezTo>
                      <a:pt x="203" y="371"/>
                      <a:pt x="203" y="371"/>
                      <a:pt x="203" y="371"/>
                    </a:cubicBezTo>
                    <a:cubicBezTo>
                      <a:pt x="242" y="371"/>
                      <a:pt x="242" y="371"/>
                      <a:pt x="242" y="371"/>
                    </a:cubicBezTo>
                    <a:cubicBezTo>
                      <a:pt x="242" y="309"/>
                      <a:pt x="242" y="309"/>
                      <a:pt x="242" y="309"/>
                    </a:cubicBezTo>
                    <a:lnTo>
                      <a:pt x="203" y="309"/>
                    </a:lnTo>
                    <a:close/>
                    <a:moveTo>
                      <a:pt x="263" y="309"/>
                    </a:moveTo>
                    <a:cubicBezTo>
                      <a:pt x="263" y="371"/>
                      <a:pt x="263" y="371"/>
                      <a:pt x="263" y="371"/>
                    </a:cubicBezTo>
                    <a:cubicBezTo>
                      <a:pt x="302" y="371"/>
                      <a:pt x="302" y="371"/>
                      <a:pt x="302" y="371"/>
                    </a:cubicBezTo>
                    <a:cubicBezTo>
                      <a:pt x="302" y="309"/>
                      <a:pt x="302" y="309"/>
                      <a:pt x="302" y="309"/>
                    </a:cubicBezTo>
                    <a:lnTo>
                      <a:pt x="263" y="309"/>
                    </a:lnTo>
                    <a:close/>
                    <a:moveTo>
                      <a:pt x="323" y="309"/>
                    </a:moveTo>
                    <a:cubicBezTo>
                      <a:pt x="323" y="371"/>
                      <a:pt x="323" y="371"/>
                      <a:pt x="323" y="371"/>
                    </a:cubicBezTo>
                    <a:cubicBezTo>
                      <a:pt x="362" y="371"/>
                      <a:pt x="362" y="371"/>
                      <a:pt x="362" y="371"/>
                    </a:cubicBezTo>
                    <a:cubicBezTo>
                      <a:pt x="362" y="309"/>
                      <a:pt x="362" y="309"/>
                      <a:pt x="362" y="309"/>
                    </a:cubicBezTo>
                    <a:lnTo>
                      <a:pt x="323" y="309"/>
                    </a:lnTo>
                    <a:close/>
                    <a:moveTo>
                      <a:pt x="384" y="309"/>
                    </a:moveTo>
                    <a:cubicBezTo>
                      <a:pt x="384" y="371"/>
                      <a:pt x="384" y="371"/>
                      <a:pt x="384" y="371"/>
                    </a:cubicBezTo>
                    <a:cubicBezTo>
                      <a:pt x="421" y="371"/>
                      <a:pt x="421" y="371"/>
                      <a:pt x="421" y="371"/>
                    </a:cubicBezTo>
                    <a:cubicBezTo>
                      <a:pt x="421" y="309"/>
                      <a:pt x="421" y="309"/>
                      <a:pt x="421" y="309"/>
                    </a:cubicBezTo>
                    <a:lnTo>
                      <a:pt x="384" y="309"/>
                    </a:lnTo>
                    <a:close/>
                    <a:moveTo>
                      <a:pt x="384" y="309"/>
                    </a:moveTo>
                    <a:cubicBezTo>
                      <a:pt x="384" y="371"/>
                      <a:pt x="384" y="371"/>
                      <a:pt x="384" y="371"/>
                    </a:cubicBezTo>
                    <a:cubicBezTo>
                      <a:pt x="421" y="371"/>
                      <a:pt x="421" y="371"/>
                      <a:pt x="421" y="371"/>
                    </a:cubicBezTo>
                    <a:cubicBezTo>
                      <a:pt x="421" y="309"/>
                      <a:pt x="421" y="309"/>
                      <a:pt x="421" y="309"/>
                    </a:cubicBezTo>
                    <a:lnTo>
                      <a:pt x="384" y="309"/>
                    </a:lnTo>
                    <a:close/>
                    <a:moveTo>
                      <a:pt x="323" y="371"/>
                    </a:moveTo>
                    <a:cubicBezTo>
                      <a:pt x="362" y="371"/>
                      <a:pt x="362" y="371"/>
                      <a:pt x="362" y="371"/>
                    </a:cubicBezTo>
                    <a:cubicBezTo>
                      <a:pt x="362" y="309"/>
                      <a:pt x="362" y="309"/>
                      <a:pt x="362" y="309"/>
                    </a:cubicBezTo>
                    <a:cubicBezTo>
                      <a:pt x="323" y="309"/>
                      <a:pt x="323" y="309"/>
                      <a:pt x="323" y="309"/>
                    </a:cubicBezTo>
                    <a:lnTo>
                      <a:pt x="323" y="371"/>
                    </a:lnTo>
                    <a:close/>
                    <a:moveTo>
                      <a:pt x="263" y="371"/>
                    </a:moveTo>
                    <a:cubicBezTo>
                      <a:pt x="302" y="371"/>
                      <a:pt x="302" y="371"/>
                      <a:pt x="302" y="371"/>
                    </a:cubicBezTo>
                    <a:cubicBezTo>
                      <a:pt x="302" y="309"/>
                      <a:pt x="302" y="309"/>
                      <a:pt x="302" y="309"/>
                    </a:cubicBezTo>
                    <a:cubicBezTo>
                      <a:pt x="263" y="309"/>
                      <a:pt x="263" y="309"/>
                      <a:pt x="263" y="309"/>
                    </a:cubicBezTo>
                    <a:lnTo>
                      <a:pt x="263" y="371"/>
                    </a:lnTo>
                    <a:close/>
                    <a:moveTo>
                      <a:pt x="203" y="371"/>
                    </a:moveTo>
                    <a:cubicBezTo>
                      <a:pt x="242" y="371"/>
                      <a:pt x="242" y="371"/>
                      <a:pt x="242" y="371"/>
                    </a:cubicBezTo>
                    <a:cubicBezTo>
                      <a:pt x="242" y="309"/>
                      <a:pt x="242" y="309"/>
                      <a:pt x="242" y="309"/>
                    </a:cubicBezTo>
                    <a:cubicBezTo>
                      <a:pt x="203" y="309"/>
                      <a:pt x="203" y="309"/>
                      <a:pt x="203" y="309"/>
                    </a:cubicBezTo>
                    <a:lnTo>
                      <a:pt x="203" y="371"/>
                    </a:lnTo>
                    <a:close/>
                    <a:moveTo>
                      <a:pt x="143" y="371"/>
                    </a:moveTo>
                    <a:cubicBezTo>
                      <a:pt x="183" y="371"/>
                      <a:pt x="183" y="371"/>
                      <a:pt x="183" y="371"/>
                    </a:cubicBezTo>
                    <a:cubicBezTo>
                      <a:pt x="183" y="309"/>
                      <a:pt x="183" y="309"/>
                      <a:pt x="183" y="309"/>
                    </a:cubicBezTo>
                    <a:cubicBezTo>
                      <a:pt x="143" y="309"/>
                      <a:pt x="143" y="309"/>
                      <a:pt x="143" y="309"/>
                    </a:cubicBezTo>
                    <a:lnTo>
                      <a:pt x="143" y="371"/>
                    </a:lnTo>
                    <a:close/>
                    <a:moveTo>
                      <a:pt x="594" y="87"/>
                    </a:moveTo>
                    <a:cubicBezTo>
                      <a:pt x="594" y="87"/>
                      <a:pt x="594" y="87"/>
                      <a:pt x="574" y="16"/>
                    </a:cubicBezTo>
                    <a:cubicBezTo>
                      <a:pt x="572" y="11"/>
                      <a:pt x="569" y="6"/>
                      <a:pt x="564" y="3"/>
                    </a:cubicBezTo>
                    <a:cubicBezTo>
                      <a:pt x="559" y="1"/>
                      <a:pt x="553" y="0"/>
                      <a:pt x="548" y="2"/>
                    </a:cubicBezTo>
                    <a:cubicBezTo>
                      <a:pt x="548" y="2"/>
                      <a:pt x="548" y="2"/>
                      <a:pt x="385" y="48"/>
                    </a:cubicBezTo>
                    <a:cubicBezTo>
                      <a:pt x="385" y="49"/>
                      <a:pt x="384" y="49"/>
                      <a:pt x="384" y="49"/>
                    </a:cubicBezTo>
                    <a:cubicBezTo>
                      <a:pt x="384" y="49"/>
                      <a:pt x="384" y="49"/>
                      <a:pt x="384" y="49"/>
                    </a:cubicBezTo>
                    <a:cubicBezTo>
                      <a:pt x="384" y="49"/>
                      <a:pt x="384" y="49"/>
                      <a:pt x="16" y="155"/>
                    </a:cubicBezTo>
                    <a:cubicBezTo>
                      <a:pt x="11" y="157"/>
                      <a:pt x="6" y="161"/>
                      <a:pt x="4" y="166"/>
                    </a:cubicBezTo>
                    <a:cubicBezTo>
                      <a:pt x="0" y="171"/>
                      <a:pt x="0" y="178"/>
                      <a:pt x="3" y="183"/>
                    </a:cubicBezTo>
                    <a:cubicBezTo>
                      <a:pt x="3" y="183"/>
                      <a:pt x="3" y="183"/>
                      <a:pt x="22" y="235"/>
                    </a:cubicBezTo>
                    <a:cubicBezTo>
                      <a:pt x="23" y="238"/>
                      <a:pt x="25" y="240"/>
                      <a:pt x="26" y="242"/>
                    </a:cubicBezTo>
                    <a:cubicBezTo>
                      <a:pt x="25" y="244"/>
                      <a:pt x="25" y="248"/>
                      <a:pt x="25" y="251"/>
                    </a:cubicBezTo>
                    <a:cubicBezTo>
                      <a:pt x="25" y="251"/>
                      <a:pt x="25" y="251"/>
                      <a:pt x="25" y="494"/>
                    </a:cubicBezTo>
                    <a:cubicBezTo>
                      <a:pt x="25" y="506"/>
                      <a:pt x="34" y="515"/>
                      <a:pt x="46" y="515"/>
                    </a:cubicBezTo>
                    <a:cubicBezTo>
                      <a:pt x="46" y="515"/>
                      <a:pt x="46" y="515"/>
                      <a:pt x="81" y="515"/>
                    </a:cubicBezTo>
                    <a:cubicBezTo>
                      <a:pt x="126" y="515"/>
                      <a:pt x="126" y="515"/>
                      <a:pt x="126" y="515"/>
                    </a:cubicBezTo>
                    <a:cubicBezTo>
                      <a:pt x="134" y="545"/>
                      <a:pt x="162" y="567"/>
                      <a:pt x="193" y="567"/>
                    </a:cubicBezTo>
                    <a:cubicBezTo>
                      <a:pt x="226" y="567"/>
                      <a:pt x="253" y="545"/>
                      <a:pt x="261" y="515"/>
                    </a:cubicBezTo>
                    <a:cubicBezTo>
                      <a:pt x="329" y="515"/>
                      <a:pt x="329" y="515"/>
                      <a:pt x="329" y="515"/>
                    </a:cubicBezTo>
                    <a:cubicBezTo>
                      <a:pt x="337" y="545"/>
                      <a:pt x="364" y="567"/>
                      <a:pt x="397" y="567"/>
                    </a:cubicBezTo>
                    <a:cubicBezTo>
                      <a:pt x="429" y="567"/>
                      <a:pt x="456" y="545"/>
                      <a:pt x="464" y="515"/>
                    </a:cubicBezTo>
                    <a:cubicBezTo>
                      <a:pt x="523" y="515"/>
                      <a:pt x="523" y="515"/>
                      <a:pt x="523" y="515"/>
                    </a:cubicBezTo>
                    <a:cubicBezTo>
                      <a:pt x="523" y="230"/>
                      <a:pt x="523" y="230"/>
                      <a:pt x="523" y="230"/>
                    </a:cubicBezTo>
                    <a:cubicBezTo>
                      <a:pt x="385" y="230"/>
                      <a:pt x="385" y="230"/>
                      <a:pt x="385" y="230"/>
                    </a:cubicBezTo>
                    <a:cubicBezTo>
                      <a:pt x="385" y="230"/>
                      <a:pt x="385" y="230"/>
                      <a:pt x="385" y="163"/>
                    </a:cubicBezTo>
                    <a:cubicBezTo>
                      <a:pt x="385" y="163"/>
                      <a:pt x="385" y="163"/>
                      <a:pt x="579" y="114"/>
                    </a:cubicBezTo>
                    <a:cubicBezTo>
                      <a:pt x="585" y="112"/>
                      <a:pt x="589" y="109"/>
                      <a:pt x="592" y="104"/>
                    </a:cubicBezTo>
                    <a:cubicBezTo>
                      <a:pt x="595" y="99"/>
                      <a:pt x="596" y="93"/>
                      <a:pt x="594" y="87"/>
                    </a:cubicBezTo>
                    <a:close/>
                    <a:moveTo>
                      <a:pt x="375" y="74"/>
                    </a:moveTo>
                    <a:cubicBezTo>
                      <a:pt x="375" y="74"/>
                      <a:pt x="375" y="74"/>
                      <a:pt x="365" y="137"/>
                    </a:cubicBezTo>
                    <a:cubicBezTo>
                      <a:pt x="365" y="137"/>
                      <a:pt x="365" y="137"/>
                      <a:pt x="310" y="93"/>
                    </a:cubicBezTo>
                    <a:cubicBezTo>
                      <a:pt x="375" y="74"/>
                      <a:pt x="375" y="74"/>
                      <a:pt x="375" y="74"/>
                    </a:cubicBezTo>
                    <a:close/>
                    <a:moveTo>
                      <a:pt x="292" y="106"/>
                    </a:moveTo>
                    <a:cubicBezTo>
                      <a:pt x="347" y="151"/>
                      <a:pt x="347" y="151"/>
                      <a:pt x="347" y="151"/>
                    </a:cubicBezTo>
                    <a:cubicBezTo>
                      <a:pt x="347" y="151"/>
                      <a:pt x="347" y="151"/>
                      <a:pt x="272" y="170"/>
                    </a:cubicBezTo>
                    <a:cubicBezTo>
                      <a:pt x="272" y="170"/>
                      <a:pt x="272" y="170"/>
                      <a:pt x="292" y="106"/>
                    </a:cubicBezTo>
                    <a:close/>
                    <a:moveTo>
                      <a:pt x="364" y="169"/>
                    </a:moveTo>
                    <a:cubicBezTo>
                      <a:pt x="364" y="230"/>
                      <a:pt x="364" y="230"/>
                      <a:pt x="364" y="230"/>
                    </a:cubicBezTo>
                    <a:cubicBezTo>
                      <a:pt x="364" y="230"/>
                      <a:pt x="364" y="230"/>
                      <a:pt x="331" y="230"/>
                    </a:cubicBezTo>
                    <a:cubicBezTo>
                      <a:pt x="331" y="230"/>
                      <a:pt x="331" y="230"/>
                      <a:pt x="331" y="177"/>
                    </a:cubicBezTo>
                    <a:cubicBezTo>
                      <a:pt x="331" y="177"/>
                      <a:pt x="331" y="177"/>
                      <a:pt x="364" y="169"/>
                    </a:cubicBezTo>
                    <a:close/>
                    <a:moveTo>
                      <a:pt x="310" y="181"/>
                    </a:moveTo>
                    <a:cubicBezTo>
                      <a:pt x="310" y="181"/>
                      <a:pt x="310" y="181"/>
                      <a:pt x="310" y="230"/>
                    </a:cubicBezTo>
                    <a:cubicBezTo>
                      <a:pt x="121" y="230"/>
                      <a:pt x="121" y="230"/>
                      <a:pt x="121" y="230"/>
                    </a:cubicBezTo>
                    <a:cubicBezTo>
                      <a:pt x="121" y="230"/>
                      <a:pt x="121" y="230"/>
                      <a:pt x="310" y="181"/>
                    </a:cubicBezTo>
                    <a:close/>
                    <a:moveTo>
                      <a:pt x="271" y="104"/>
                    </a:moveTo>
                    <a:cubicBezTo>
                      <a:pt x="271" y="104"/>
                      <a:pt x="271" y="104"/>
                      <a:pt x="252" y="163"/>
                    </a:cubicBezTo>
                    <a:cubicBezTo>
                      <a:pt x="252" y="163"/>
                      <a:pt x="252" y="163"/>
                      <a:pt x="204" y="123"/>
                    </a:cubicBezTo>
                    <a:cubicBezTo>
                      <a:pt x="271" y="104"/>
                      <a:pt x="271" y="104"/>
                      <a:pt x="271" y="104"/>
                    </a:cubicBezTo>
                    <a:close/>
                    <a:moveTo>
                      <a:pt x="188" y="136"/>
                    </a:moveTo>
                    <a:cubicBezTo>
                      <a:pt x="237" y="178"/>
                      <a:pt x="237" y="178"/>
                      <a:pt x="237" y="178"/>
                    </a:cubicBezTo>
                    <a:cubicBezTo>
                      <a:pt x="237" y="178"/>
                      <a:pt x="237" y="178"/>
                      <a:pt x="169" y="195"/>
                    </a:cubicBezTo>
                    <a:cubicBezTo>
                      <a:pt x="169" y="195"/>
                      <a:pt x="169" y="195"/>
                      <a:pt x="188" y="136"/>
                    </a:cubicBezTo>
                    <a:close/>
                    <a:moveTo>
                      <a:pt x="166" y="134"/>
                    </a:moveTo>
                    <a:cubicBezTo>
                      <a:pt x="166" y="134"/>
                      <a:pt x="166" y="134"/>
                      <a:pt x="147" y="193"/>
                    </a:cubicBezTo>
                    <a:cubicBezTo>
                      <a:pt x="147" y="193"/>
                      <a:pt x="147" y="193"/>
                      <a:pt x="97" y="154"/>
                    </a:cubicBezTo>
                    <a:cubicBezTo>
                      <a:pt x="166" y="134"/>
                      <a:pt x="166" y="134"/>
                      <a:pt x="166" y="134"/>
                    </a:cubicBezTo>
                    <a:close/>
                    <a:moveTo>
                      <a:pt x="41" y="225"/>
                    </a:moveTo>
                    <a:cubicBezTo>
                      <a:pt x="23" y="176"/>
                      <a:pt x="23" y="176"/>
                      <a:pt x="23" y="176"/>
                    </a:cubicBezTo>
                    <a:cubicBezTo>
                      <a:pt x="23" y="176"/>
                      <a:pt x="23" y="176"/>
                      <a:pt x="62" y="164"/>
                    </a:cubicBezTo>
                    <a:cubicBezTo>
                      <a:pt x="62" y="164"/>
                      <a:pt x="62" y="164"/>
                      <a:pt x="41" y="225"/>
                    </a:cubicBezTo>
                    <a:close/>
                    <a:moveTo>
                      <a:pt x="65" y="222"/>
                    </a:moveTo>
                    <a:cubicBezTo>
                      <a:pt x="65" y="222"/>
                      <a:pt x="65" y="222"/>
                      <a:pt x="83" y="170"/>
                    </a:cubicBezTo>
                    <a:cubicBezTo>
                      <a:pt x="83" y="170"/>
                      <a:pt x="83" y="170"/>
                      <a:pt x="129" y="206"/>
                    </a:cubicBezTo>
                    <a:cubicBezTo>
                      <a:pt x="65" y="222"/>
                      <a:pt x="65" y="222"/>
                      <a:pt x="65" y="222"/>
                    </a:cubicBezTo>
                    <a:close/>
                    <a:moveTo>
                      <a:pt x="241" y="515"/>
                    </a:moveTo>
                    <a:cubicBezTo>
                      <a:pt x="233" y="534"/>
                      <a:pt x="215" y="547"/>
                      <a:pt x="194" y="547"/>
                    </a:cubicBezTo>
                    <a:cubicBezTo>
                      <a:pt x="173" y="547"/>
                      <a:pt x="155" y="534"/>
                      <a:pt x="147" y="515"/>
                    </a:cubicBezTo>
                    <a:cubicBezTo>
                      <a:pt x="145" y="509"/>
                      <a:pt x="143" y="503"/>
                      <a:pt x="143" y="496"/>
                    </a:cubicBezTo>
                    <a:cubicBezTo>
                      <a:pt x="143" y="495"/>
                      <a:pt x="143" y="495"/>
                      <a:pt x="143" y="494"/>
                    </a:cubicBezTo>
                    <a:cubicBezTo>
                      <a:pt x="145" y="467"/>
                      <a:pt x="167" y="445"/>
                      <a:pt x="194" y="445"/>
                    </a:cubicBezTo>
                    <a:cubicBezTo>
                      <a:pt x="221" y="445"/>
                      <a:pt x="244" y="467"/>
                      <a:pt x="245" y="494"/>
                    </a:cubicBezTo>
                    <a:cubicBezTo>
                      <a:pt x="245" y="495"/>
                      <a:pt x="245" y="495"/>
                      <a:pt x="245" y="496"/>
                    </a:cubicBezTo>
                    <a:cubicBezTo>
                      <a:pt x="245" y="503"/>
                      <a:pt x="244" y="509"/>
                      <a:pt x="241" y="515"/>
                    </a:cubicBezTo>
                    <a:close/>
                    <a:moveTo>
                      <a:pt x="443" y="515"/>
                    </a:moveTo>
                    <a:cubicBezTo>
                      <a:pt x="435" y="534"/>
                      <a:pt x="417" y="547"/>
                      <a:pt x="396" y="547"/>
                    </a:cubicBezTo>
                    <a:cubicBezTo>
                      <a:pt x="375" y="547"/>
                      <a:pt x="357" y="534"/>
                      <a:pt x="349" y="515"/>
                    </a:cubicBezTo>
                    <a:cubicBezTo>
                      <a:pt x="347" y="509"/>
                      <a:pt x="345" y="503"/>
                      <a:pt x="345" y="496"/>
                    </a:cubicBezTo>
                    <a:cubicBezTo>
                      <a:pt x="345" y="495"/>
                      <a:pt x="345" y="495"/>
                      <a:pt x="345" y="494"/>
                    </a:cubicBezTo>
                    <a:cubicBezTo>
                      <a:pt x="346" y="467"/>
                      <a:pt x="369" y="445"/>
                      <a:pt x="396" y="445"/>
                    </a:cubicBezTo>
                    <a:cubicBezTo>
                      <a:pt x="423" y="445"/>
                      <a:pt x="446" y="467"/>
                      <a:pt x="447" y="494"/>
                    </a:cubicBezTo>
                    <a:cubicBezTo>
                      <a:pt x="447" y="495"/>
                      <a:pt x="447" y="495"/>
                      <a:pt x="447" y="496"/>
                    </a:cubicBezTo>
                    <a:cubicBezTo>
                      <a:pt x="447" y="503"/>
                      <a:pt x="445" y="509"/>
                      <a:pt x="443" y="515"/>
                    </a:cubicBezTo>
                    <a:close/>
                    <a:moveTo>
                      <a:pt x="461" y="290"/>
                    </a:moveTo>
                    <a:cubicBezTo>
                      <a:pt x="467" y="290"/>
                      <a:pt x="472" y="295"/>
                      <a:pt x="472" y="300"/>
                    </a:cubicBezTo>
                    <a:cubicBezTo>
                      <a:pt x="472" y="306"/>
                      <a:pt x="467" y="311"/>
                      <a:pt x="461" y="311"/>
                    </a:cubicBezTo>
                    <a:cubicBezTo>
                      <a:pt x="461" y="311"/>
                      <a:pt x="461" y="311"/>
                      <a:pt x="443" y="311"/>
                    </a:cubicBezTo>
                    <a:cubicBezTo>
                      <a:pt x="443" y="311"/>
                      <a:pt x="443" y="311"/>
                      <a:pt x="443" y="371"/>
                    </a:cubicBezTo>
                    <a:cubicBezTo>
                      <a:pt x="443" y="371"/>
                      <a:pt x="443" y="371"/>
                      <a:pt x="461" y="371"/>
                    </a:cubicBezTo>
                    <a:cubicBezTo>
                      <a:pt x="467" y="371"/>
                      <a:pt x="472" y="375"/>
                      <a:pt x="472" y="381"/>
                    </a:cubicBezTo>
                    <a:cubicBezTo>
                      <a:pt x="472" y="387"/>
                      <a:pt x="467" y="392"/>
                      <a:pt x="461" y="392"/>
                    </a:cubicBezTo>
                    <a:cubicBezTo>
                      <a:pt x="461" y="392"/>
                      <a:pt x="461" y="392"/>
                      <a:pt x="106" y="392"/>
                    </a:cubicBezTo>
                    <a:cubicBezTo>
                      <a:pt x="99" y="392"/>
                      <a:pt x="95" y="387"/>
                      <a:pt x="95" y="381"/>
                    </a:cubicBezTo>
                    <a:cubicBezTo>
                      <a:pt x="95" y="375"/>
                      <a:pt x="99" y="371"/>
                      <a:pt x="106" y="371"/>
                    </a:cubicBezTo>
                    <a:cubicBezTo>
                      <a:pt x="124" y="371"/>
                      <a:pt x="124" y="371"/>
                      <a:pt x="124" y="371"/>
                    </a:cubicBezTo>
                    <a:cubicBezTo>
                      <a:pt x="124" y="371"/>
                      <a:pt x="124" y="371"/>
                      <a:pt x="124" y="311"/>
                    </a:cubicBezTo>
                    <a:cubicBezTo>
                      <a:pt x="124" y="311"/>
                      <a:pt x="124" y="311"/>
                      <a:pt x="106" y="311"/>
                    </a:cubicBezTo>
                    <a:cubicBezTo>
                      <a:pt x="99" y="311"/>
                      <a:pt x="95" y="306"/>
                      <a:pt x="95" y="300"/>
                    </a:cubicBezTo>
                    <a:cubicBezTo>
                      <a:pt x="95" y="295"/>
                      <a:pt x="99" y="290"/>
                      <a:pt x="106" y="290"/>
                    </a:cubicBezTo>
                    <a:cubicBezTo>
                      <a:pt x="106" y="290"/>
                      <a:pt x="106" y="290"/>
                      <a:pt x="461" y="290"/>
                    </a:cubicBezTo>
                    <a:close/>
                    <a:moveTo>
                      <a:pt x="386" y="141"/>
                    </a:moveTo>
                    <a:cubicBezTo>
                      <a:pt x="386" y="141"/>
                      <a:pt x="386" y="141"/>
                      <a:pt x="395" y="80"/>
                    </a:cubicBezTo>
                    <a:cubicBezTo>
                      <a:pt x="395" y="80"/>
                      <a:pt x="395" y="80"/>
                      <a:pt x="451" y="125"/>
                    </a:cubicBezTo>
                    <a:cubicBezTo>
                      <a:pt x="386" y="141"/>
                      <a:pt x="386" y="141"/>
                      <a:pt x="386" y="141"/>
                    </a:cubicBezTo>
                    <a:close/>
                    <a:moveTo>
                      <a:pt x="465" y="108"/>
                    </a:moveTo>
                    <a:cubicBezTo>
                      <a:pt x="465" y="108"/>
                      <a:pt x="465" y="108"/>
                      <a:pt x="410" y="63"/>
                    </a:cubicBezTo>
                    <a:cubicBezTo>
                      <a:pt x="475" y="45"/>
                      <a:pt x="475" y="45"/>
                      <a:pt x="475" y="45"/>
                    </a:cubicBezTo>
                    <a:cubicBezTo>
                      <a:pt x="475" y="45"/>
                      <a:pt x="475" y="45"/>
                      <a:pt x="465" y="108"/>
                    </a:cubicBezTo>
                    <a:close/>
                    <a:moveTo>
                      <a:pt x="485" y="116"/>
                    </a:moveTo>
                    <a:cubicBezTo>
                      <a:pt x="485" y="116"/>
                      <a:pt x="485" y="116"/>
                      <a:pt x="495" y="51"/>
                    </a:cubicBezTo>
                    <a:cubicBezTo>
                      <a:pt x="495" y="51"/>
                      <a:pt x="495" y="51"/>
                      <a:pt x="550" y="99"/>
                    </a:cubicBezTo>
                    <a:cubicBezTo>
                      <a:pt x="485" y="116"/>
                      <a:pt x="485" y="116"/>
                      <a:pt x="485" y="116"/>
                    </a:cubicBezTo>
                    <a:close/>
                    <a:moveTo>
                      <a:pt x="509" y="35"/>
                    </a:moveTo>
                    <a:cubicBezTo>
                      <a:pt x="509" y="35"/>
                      <a:pt x="509" y="35"/>
                      <a:pt x="554" y="22"/>
                    </a:cubicBezTo>
                    <a:cubicBezTo>
                      <a:pt x="572" y="85"/>
                      <a:pt x="573" y="91"/>
                      <a:pt x="574" y="92"/>
                    </a:cubicBezTo>
                    <a:cubicBezTo>
                      <a:pt x="573" y="91"/>
                      <a:pt x="568" y="87"/>
                      <a:pt x="509" y="35"/>
                    </a:cubicBezTo>
                    <a:close/>
                    <a:moveTo>
                      <a:pt x="421" y="309"/>
                    </a:moveTo>
                    <a:cubicBezTo>
                      <a:pt x="384" y="309"/>
                      <a:pt x="384" y="309"/>
                      <a:pt x="384" y="309"/>
                    </a:cubicBezTo>
                    <a:cubicBezTo>
                      <a:pt x="384" y="371"/>
                      <a:pt x="384" y="371"/>
                      <a:pt x="384" y="371"/>
                    </a:cubicBezTo>
                    <a:cubicBezTo>
                      <a:pt x="421" y="371"/>
                      <a:pt x="421" y="371"/>
                      <a:pt x="421" y="371"/>
                    </a:cubicBezTo>
                    <a:lnTo>
                      <a:pt x="421" y="309"/>
                    </a:lnTo>
                    <a:close/>
                    <a:moveTo>
                      <a:pt x="362" y="309"/>
                    </a:moveTo>
                    <a:cubicBezTo>
                      <a:pt x="323" y="309"/>
                      <a:pt x="323" y="309"/>
                      <a:pt x="323" y="309"/>
                    </a:cubicBezTo>
                    <a:cubicBezTo>
                      <a:pt x="323" y="371"/>
                      <a:pt x="323" y="371"/>
                      <a:pt x="323" y="371"/>
                    </a:cubicBezTo>
                    <a:cubicBezTo>
                      <a:pt x="362" y="371"/>
                      <a:pt x="362" y="371"/>
                      <a:pt x="362" y="371"/>
                    </a:cubicBezTo>
                    <a:lnTo>
                      <a:pt x="362" y="309"/>
                    </a:lnTo>
                    <a:close/>
                    <a:moveTo>
                      <a:pt x="302" y="309"/>
                    </a:moveTo>
                    <a:cubicBezTo>
                      <a:pt x="263" y="309"/>
                      <a:pt x="263" y="309"/>
                      <a:pt x="263" y="309"/>
                    </a:cubicBezTo>
                    <a:cubicBezTo>
                      <a:pt x="263" y="371"/>
                      <a:pt x="263" y="371"/>
                      <a:pt x="263" y="371"/>
                    </a:cubicBezTo>
                    <a:cubicBezTo>
                      <a:pt x="302" y="371"/>
                      <a:pt x="302" y="371"/>
                      <a:pt x="302" y="371"/>
                    </a:cubicBezTo>
                    <a:lnTo>
                      <a:pt x="302" y="309"/>
                    </a:lnTo>
                    <a:close/>
                    <a:moveTo>
                      <a:pt x="242" y="309"/>
                    </a:moveTo>
                    <a:cubicBezTo>
                      <a:pt x="203" y="309"/>
                      <a:pt x="203" y="309"/>
                      <a:pt x="203" y="309"/>
                    </a:cubicBezTo>
                    <a:cubicBezTo>
                      <a:pt x="203" y="371"/>
                      <a:pt x="203" y="371"/>
                      <a:pt x="203" y="371"/>
                    </a:cubicBezTo>
                    <a:cubicBezTo>
                      <a:pt x="242" y="371"/>
                      <a:pt x="242" y="371"/>
                      <a:pt x="242" y="371"/>
                    </a:cubicBezTo>
                    <a:lnTo>
                      <a:pt x="242" y="309"/>
                    </a:lnTo>
                    <a:close/>
                    <a:moveTo>
                      <a:pt x="183" y="309"/>
                    </a:moveTo>
                    <a:cubicBezTo>
                      <a:pt x="143" y="309"/>
                      <a:pt x="143" y="309"/>
                      <a:pt x="143" y="309"/>
                    </a:cubicBezTo>
                    <a:cubicBezTo>
                      <a:pt x="143" y="371"/>
                      <a:pt x="143" y="371"/>
                      <a:pt x="143" y="371"/>
                    </a:cubicBezTo>
                    <a:cubicBezTo>
                      <a:pt x="183" y="371"/>
                      <a:pt x="183" y="371"/>
                      <a:pt x="183" y="371"/>
                    </a:cubicBezTo>
                    <a:lnTo>
                      <a:pt x="183" y="309"/>
                    </a:lnTo>
                    <a:close/>
                    <a:moveTo>
                      <a:pt x="876" y="339"/>
                    </a:moveTo>
                    <a:cubicBezTo>
                      <a:pt x="876" y="339"/>
                      <a:pt x="876" y="339"/>
                      <a:pt x="834" y="204"/>
                    </a:cubicBezTo>
                    <a:cubicBezTo>
                      <a:pt x="831" y="195"/>
                      <a:pt x="823" y="189"/>
                      <a:pt x="814" y="189"/>
                    </a:cubicBezTo>
                    <a:cubicBezTo>
                      <a:pt x="814" y="189"/>
                      <a:pt x="814" y="189"/>
                      <a:pt x="564" y="189"/>
                    </a:cubicBezTo>
                    <a:cubicBezTo>
                      <a:pt x="553" y="189"/>
                      <a:pt x="543" y="199"/>
                      <a:pt x="543" y="210"/>
                    </a:cubicBezTo>
                    <a:cubicBezTo>
                      <a:pt x="543" y="210"/>
                      <a:pt x="543" y="210"/>
                      <a:pt x="543" y="222"/>
                    </a:cubicBezTo>
                    <a:cubicBezTo>
                      <a:pt x="543" y="222"/>
                      <a:pt x="543" y="222"/>
                      <a:pt x="543" y="222"/>
                    </a:cubicBezTo>
                    <a:cubicBezTo>
                      <a:pt x="543" y="515"/>
                      <a:pt x="543" y="515"/>
                      <a:pt x="543" y="515"/>
                    </a:cubicBezTo>
                    <a:cubicBezTo>
                      <a:pt x="642" y="515"/>
                      <a:pt x="642" y="515"/>
                      <a:pt x="642" y="515"/>
                    </a:cubicBezTo>
                    <a:cubicBezTo>
                      <a:pt x="651" y="545"/>
                      <a:pt x="678" y="567"/>
                      <a:pt x="711" y="567"/>
                    </a:cubicBezTo>
                    <a:cubicBezTo>
                      <a:pt x="743" y="567"/>
                      <a:pt x="770" y="545"/>
                      <a:pt x="779" y="515"/>
                    </a:cubicBezTo>
                    <a:cubicBezTo>
                      <a:pt x="856" y="515"/>
                      <a:pt x="856" y="515"/>
                      <a:pt x="856" y="515"/>
                    </a:cubicBezTo>
                    <a:cubicBezTo>
                      <a:pt x="867" y="515"/>
                      <a:pt x="877" y="506"/>
                      <a:pt x="877" y="494"/>
                    </a:cubicBezTo>
                    <a:cubicBezTo>
                      <a:pt x="877" y="494"/>
                      <a:pt x="877" y="494"/>
                      <a:pt x="877" y="345"/>
                    </a:cubicBezTo>
                    <a:cubicBezTo>
                      <a:pt x="877" y="343"/>
                      <a:pt x="877" y="341"/>
                      <a:pt x="876" y="339"/>
                    </a:cubicBezTo>
                    <a:close/>
                    <a:moveTo>
                      <a:pt x="633" y="354"/>
                    </a:moveTo>
                    <a:cubicBezTo>
                      <a:pt x="628" y="354"/>
                      <a:pt x="624" y="350"/>
                      <a:pt x="624" y="344"/>
                    </a:cubicBezTo>
                    <a:cubicBezTo>
                      <a:pt x="624" y="344"/>
                      <a:pt x="624" y="344"/>
                      <a:pt x="624" y="265"/>
                    </a:cubicBezTo>
                    <a:cubicBezTo>
                      <a:pt x="624" y="259"/>
                      <a:pt x="628" y="254"/>
                      <a:pt x="633" y="254"/>
                    </a:cubicBezTo>
                    <a:cubicBezTo>
                      <a:pt x="633" y="254"/>
                      <a:pt x="633" y="254"/>
                      <a:pt x="685" y="254"/>
                    </a:cubicBezTo>
                    <a:cubicBezTo>
                      <a:pt x="685" y="254"/>
                      <a:pt x="685" y="254"/>
                      <a:pt x="685" y="354"/>
                    </a:cubicBezTo>
                    <a:cubicBezTo>
                      <a:pt x="685" y="354"/>
                      <a:pt x="685" y="354"/>
                      <a:pt x="633" y="354"/>
                    </a:cubicBezTo>
                    <a:close/>
                    <a:moveTo>
                      <a:pt x="758" y="515"/>
                    </a:moveTo>
                    <a:cubicBezTo>
                      <a:pt x="750" y="534"/>
                      <a:pt x="732" y="547"/>
                      <a:pt x="711" y="547"/>
                    </a:cubicBezTo>
                    <a:cubicBezTo>
                      <a:pt x="689" y="547"/>
                      <a:pt x="671" y="534"/>
                      <a:pt x="664" y="515"/>
                    </a:cubicBezTo>
                    <a:cubicBezTo>
                      <a:pt x="661" y="509"/>
                      <a:pt x="660" y="503"/>
                      <a:pt x="660" y="496"/>
                    </a:cubicBezTo>
                    <a:cubicBezTo>
                      <a:pt x="660" y="495"/>
                      <a:pt x="660" y="495"/>
                      <a:pt x="660" y="494"/>
                    </a:cubicBezTo>
                    <a:cubicBezTo>
                      <a:pt x="661" y="467"/>
                      <a:pt x="683" y="445"/>
                      <a:pt x="711" y="445"/>
                    </a:cubicBezTo>
                    <a:cubicBezTo>
                      <a:pt x="738" y="445"/>
                      <a:pt x="760" y="467"/>
                      <a:pt x="761" y="494"/>
                    </a:cubicBezTo>
                    <a:cubicBezTo>
                      <a:pt x="761" y="495"/>
                      <a:pt x="761" y="495"/>
                      <a:pt x="761" y="496"/>
                    </a:cubicBezTo>
                    <a:cubicBezTo>
                      <a:pt x="761" y="503"/>
                      <a:pt x="760" y="509"/>
                      <a:pt x="758" y="515"/>
                    </a:cubicBezTo>
                    <a:close/>
                    <a:moveTo>
                      <a:pt x="787" y="354"/>
                    </a:moveTo>
                    <a:cubicBezTo>
                      <a:pt x="787" y="354"/>
                      <a:pt x="787" y="354"/>
                      <a:pt x="707" y="354"/>
                    </a:cubicBezTo>
                    <a:cubicBezTo>
                      <a:pt x="707" y="354"/>
                      <a:pt x="707" y="354"/>
                      <a:pt x="707" y="254"/>
                    </a:cubicBezTo>
                    <a:cubicBezTo>
                      <a:pt x="707" y="254"/>
                      <a:pt x="707" y="254"/>
                      <a:pt x="778" y="254"/>
                    </a:cubicBezTo>
                    <a:cubicBezTo>
                      <a:pt x="782" y="254"/>
                      <a:pt x="785" y="258"/>
                      <a:pt x="786" y="263"/>
                    </a:cubicBezTo>
                    <a:cubicBezTo>
                      <a:pt x="786" y="263"/>
                      <a:pt x="786" y="263"/>
                      <a:pt x="795" y="343"/>
                    </a:cubicBezTo>
                    <a:cubicBezTo>
                      <a:pt x="797" y="349"/>
                      <a:pt x="792" y="354"/>
                      <a:pt x="787" y="354"/>
                    </a:cubicBezTo>
                    <a:close/>
                    <a:moveTo>
                      <a:pt x="143" y="309"/>
                    </a:moveTo>
                    <a:cubicBezTo>
                      <a:pt x="143" y="371"/>
                      <a:pt x="143" y="371"/>
                      <a:pt x="143" y="371"/>
                    </a:cubicBezTo>
                    <a:cubicBezTo>
                      <a:pt x="183" y="371"/>
                      <a:pt x="183" y="371"/>
                      <a:pt x="183" y="371"/>
                    </a:cubicBezTo>
                    <a:cubicBezTo>
                      <a:pt x="183" y="309"/>
                      <a:pt x="183" y="309"/>
                      <a:pt x="183" y="309"/>
                    </a:cubicBezTo>
                    <a:lnTo>
                      <a:pt x="143" y="309"/>
                    </a:lnTo>
                    <a:close/>
                    <a:moveTo>
                      <a:pt x="203" y="309"/>
                    </a:moveTo>
                    <a:cubicBezTo>
                      <a:pt x="203" y="371"/>
                      <a:pt x="203" y="371"/>
                      <a:pt x="203" y="371"/>
                    </a:cubicBezTo>
                    <a:cubicBezTo>
                      <a:pt x="242" y="371"/>
                      <a:pt x="242" y="371"/>
                      <a:pt x="242" y="371"/>
                    </a:cubicBezTo>
                    <a:cubicBezTo>
                      <a:pt x="242" y="309"/>
                      <a:pt x="242" y="309"/>
                      <a:pt x="242" y="309"/>
                    </a:cubicBezTo>
                    <a:lnTo>
                      <a:pt x="203" y="309"/>
                    </a:lnTo>
                    <a:close/>
                    <a:moveTo>
                      <a:pt x="263" y="309"/>
                    </a:moveTo>
                    <a:cubicBezTo>
                      <a:pt x="263" y="371"/>
                      <a:pt x="263" y="371"/>
                      <a:pt x="263" y="371"/>
                    </a:cubicBezTo>
                    <a:cubicBezTo>
                      <a:pt x="302" y="371"/>
                      <a:pt x="302" y="371"/>
                      <a:pt x="302" y="371"/>
                    </a:cubicBezTo>
                    <a:cubicBezTo>
                      <a:pt x="302" y="309"/>
                      <a:pt x="302" y="309"/>
                      <a:pt x="302" y="309"/>
                    </a:cubicBezTo>
                    <a:lnTo>
                      <a:pt x="263" y="309"/>
                    </a:lnTo>
                    <a:close/>
                    <a:moveTo>
                      <a:pt x="323" y="309"/>
                    </a:moveTo>
                    <a:cubicBezTo>
                      <a:pt x="323" y="371"/>
                      <a:pt x="323" y="371"/>
                      <a:pt x="323" y="371"/>
                    </a:cubicBezTo>
                    <a:cubicBezTo>
                      <a:pt x="362" y="371"/>
                      <a:pt x="362" y="371"/>
                      <a:pt x="362" y="371"/>
                    </a:cubicBezTo>
                    <a:cubicBezTo>
                      <a:pt x="362" y="309"/>
                      <a:pt x="362" y="309"/>
                      <a:pt x="362" y="309"/>
                    </a:cubicBezTo>
                    <a:lnTo>
                      <a:pt x="323" y="309"/>
                    </a:lnTo>
                    <a:close/>
                    <a:moveTo>
                      <a:pt x="384" y="309"/>
                    </a:moveTo>
                    <a:cubicBezTo>
                      <a:pt x="384" y="371"/>
                      <a:pt x="384" y="371"/>
                      <a:pt x="384" y="371"/>
                    </a:cubicBezTo>
                    <a:cubicBezTo>
                      <a:pt x="421" y="371"/>
                      <a:pt x="421" y="371"/>
                      <a:pt x="421" y="371"/>
                    </a:cubicBezTo>
                    <a:cubicBezTo>
                      <a:pt x="421" y="309"/>
                      <a:pt x="421" y="309"/>
                      <a:pt x="421" y="309"/>
                    </a:cubicBezTo>
                    <a:lnTo>
                      <a:pt x="384" y="309"/>
                    </a:lnTo>
                    <a:close/>
                    <a:moveTo>
                      <a:pt x="384" y="309"/>
                    </a:moveTo>
                    <a:cubicBezTo>
                      <a:pt x="384" y="371"/>
                      <a:pt x="384" y="371"/>
                      <a:pt x="384" y="371"/>
                    </a:cubicBezTo>
                    <a:cubicBezTo>
                      <a:pt x="421" y="371"/>
                      <a:pt x="421" y="371"/>
                      <a:pt x="421" y="371"/>
                    </a:cubicBezTo>
                    <a:cubicBezTo>
                      <a:pt x="421" y="309"/>
                      <a:pt x="421" y="309"/>
                      <a:pt x="421" y="309"/>
                    </a:cubicBezTo>
                    <a:lnTo>
                      <a:pt x="384" y="309"/>
                    </a:lnTo>
                    <a:close/>
                    <a:moveTo>
                      <a:pt x="323" y="309"/>
                    </a:moveTo>
                    <a:cubicBezTo>
                      <a:pt x="323" y="371"/>
                      <a:pt x="323" y="371"/>
                      <a:pt x="323" y="371"/>
                    </a:cubicBezTo>
                    <a:cubicBezTo>
                      <a:pt x="362" y="371"/>
                      <a:pt x="362" y="371"/>
                      <a:pt x="362" y="371"/>
                    </a:cubicBezTo>
                    <a:cubicBezTo>
                      <a:pt x="362" y="309"/>
                      <a:pt x="362" y="309"/>
                      <a:pt x="362" y="309"/>
                    </a:cubicBezTo>
                    <a:lnTo>
                      <a:pt x="323" y="309"/>
                    </a:lnTo>
                    <a:close/>
                    <a:moveTo>
                      <a:pt x="263" y="309"/>
                    </a:moveTo>
                    <a:cubicBezTo>
                      <a:pt x="263" y="371"/>
                      <a:pt x="263" y="371"/>
                      <a:pt x="263" y="371"/>
                    </a:cubicBezTo>
                    <a:cubicBezTo>
                      <a:pt x="302" y="371"/>
                      <a:pt x="302" y="371"/>
                      <a:pt x="302" y="371"/>
                    </a:cubicBezTo>
                    <a:cubicBezTo>
                      <a:pt x="302" y="309"/>
                      <a:pt x="302" y="309"/>
                      <a:pt x="302" y="309"/>
                    </a:cubicBezTo>
                    <a:lnTo>
                      <a:pt x="263" y="309"/>
                    </a:lnTo>
                    <a:close/>
                    <a:moveTo>
                      <a:pt x="203" y="309"/>
                    </a:moveTo>
                    <a:cubicBezTo>
                      <a:pt x="203" y="371"/>
                      <a:pt x="203" y="371"/>
                      <a:pt x="203" y="371"/>
                    </a:cubicBezTo>
                    <a:cubicBezTo>
                      <a:pt x="242" y="371"/>
                      <a:pt x="242" y="371"/>
                      <a:pt x="242" y="371"/>
                    </a:cubicBezTo>
                    <a:cubicBezTo>
                      <a:pt x="242" y="309"/>
                      <a:pt x="242" y="309"/>
                      <a:pt x="242" y="309"/>
                    </a:cubicBezTo>
                    <a:lnTo>
                      <a:pt x="203" y="309"/>
                    </a:lnTo>
                    <a:close/>
                    <a:moveTo>
                      <a:pt x="143" y="309"/>
                    </a:moveTo>
                    <a:cubicBezTo>
                      <a:pt x="143" y="371"/>
                      <a:pt x="143" y="371"/>
                      <a:pt x="143" y="371"/>
                    </a:cubicBezTo>
                    <a:cubicBezTo>
                      <a:pt x="183" y="371"/>
                      <a:pt x="183" y="371"/>
                      <a:pt x="183" y="371"/>
                    </a:cubicBezTo>
                    <a:cubicBezTo>
                      <a:pt x="183" y="309"/>
                      <a:pt x="183" y="309"/>
                      <a:pt x="183" y="309"/>
                    </a:cubicBezTo>
                    <a:lnTo>
                      <a:pt x="143" y="309"/>
                    </a:lnTo>
                    <a:close/>
                    <a:moveTo>
                      <a:pt x="700" y="104"/>
                    </a:moveTo>
                    <a:cubicBezTo>
                      <a:pt x="680" y="104"/>
                      <a:pt x="665" y="120"/>
                      <a:pt x="665" y="139"/>
                    </a:cubicBezTo>
                    <a:cubicBezTo>
                      <a:pt x="665" y="166"/>
                      <a:pt x="665" y="166"/>
                      <a:pt x="665" y="166"/>
                    </a:cubicBezTo>
                    <a:cubicBezTo>
                      <a:pt x="735" y="166"/>
                      <a:pt x="735" y="166"/>
                      <a:pt x="735" y="166"/>
                    </a:cubicBezTo>
                    <a:cubicBezTo>
                      <a:pt x="735" y="139"/>
                      <a:pt x="735" y="139"/>
                      <a:pt x="735" y="139"/>
                    </a:cubicBezTo>
                    <a:cubicBezTo>
                      <a:pt x="735" y="120"/>
                      <a:pt x="720" y="104"/>
                      <a:pt x="700" y="104"/>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3" name="Group 42">
            <a:extLst>
              <a:ext uri="{FF2B5EF4-FFF2-40B4-BE49-F238E27FC236}">
                <a16:creationId xmlns:a16="http://schemas.microsoft.com/office/drawing/2014/main" id="{77B6CD27-278E-4AF3-8650-FB2A240CBC36}"/>
              </a:ext>
            </a:extLst>
          </p:cNvPr>
          <p:cNvGrpSpPr/>
          <p:nvPr/>
        </p:nvGrpSpPr>
        <p:grpSpPr>
          <a:xfrm>
            <a:off x="9661270" y="1591357"/>
            <a:ext cx="1589688" cy="2197598"/>
            <a:chOff x="9621989" y="1591357"/>
            <a:chExt cx="1589688" cy="2197598"/>
          </a:xfrm>
        </p:grpSpPr>
        <p:grpSp>
          <p:nvGrpSpPr>
            <p:cNvPr id="47" name="Group 46">
              <a:extLst>
                <a:ext uri="{FF2B5EF4-FFF2-40B4-BE49-F238E27FC236}">
                  <a16:creationId xmlns:a16="http://schemas.microsoft.com/office/drawing/2014/main" id="{3FB9D705-CE37-42D5-AAD9-A37AF8E0D845}"/>
                </a:ext>
              </a:extLst>
            </p:cNvPr>
            <p:cNvGrpSpPr>
              <a:grpSpLocks/>
            </p:cNvGrpSpPr>
            <p:nvPr/>
          </p:nvGrpSpPr>
          <p:grpSpPr>
            <a:xfrm>
              <a:off x="9726780" y="1591357"/>
              <a:ext cx="1380106" cy="1096604"/>
              <a:chOff x="9723208" y="1906042"/>
              <a:chExt cx="1840142" cy="1462139"/>
            </a:xfrm>
          </p:grpSpPr>
          <p:cxnSp>
            <p:nvCxnSpPr>
              <p:cNvPr id="28" name="Straight Connector 27">
                <a:extLst>
                  <a:ext uri="{FF2B5EF4-FFF2-40B4-BE49-F238E27FC236}">
                    <a16:creationId xmlns:a16="http://schemas.microsoft.com/office/drawing/2014/main" id="{3488BAEC-37B5-4866-A83B-14A2D5DD1682}"/>
                  </a:ext>
                </a:extLst>
              </p:cNvPr>
              <p:cNvCxnSpPr/>
              <p:nvPr/>
            </p:nvCxnSpPr>
            <p:spPr>
              <a:xfrm>
                <a:off x="10628579"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24722441-4BDE-4862-BC58-92400671A702}"/>
                  </a:ext>
                </a:extLst>
              </p:cNvPr>
              <p:cNvGrpSpPr/>
              <p:nvPr/>
            </p:nvGrpSpPr>
            <p:grpSpPr>
              <a:xfrm>
                <a:off x="9723208" y="1906042"/>
                <a:ext cx="1840142" cy="1462138"/>
                <a:chOff x="9723208" y="1906042"/>
                <a:chExt cx="1840142" cy="1462138"/>
              </a:xfrm>
            </p:grpSpPr>
            <p:cxnSp>
              <p:nvCxnSpPr>
                <p:cNvPr id="31" name="Straight Connector 30">
                  <a:extLst>
                    <a:ext uri="{FF2B5EF4-FFF2-40B4-BE49-F238E27FC236}">
                      <a16:creationId xmlns:a16="http://schemas.microsoft.com/office/drawing/2014/main" id="{8B579C64-4A79-4286-AC60-A06334E40271}"/>
                    </a:ext>
                  </a:extLst>
                </p:cNvPr>
                <p:cNvCxnSpPr/>
                <p:nvPr/>
              </p:nvCxnSpPr>
              <p:spPr>
                <a:xfrm>
                  <a:off x="9723208"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sp>
              <p:nvSpPr>
                <p:cNvPr id="32" name="Arc 31">
                  <a:extLst>
                    <a:ext uri="{FF2B5EF4-FFF2-40B4-BE49-F238E27FC236}">
                      <a16:creationId xmlns:a16="http://schemas.microsoft.com/office/drawing/2014/main" id="{447563FB-032E-46E7-A603-53CA5CC03536}"/>
                    </a:ext>
                  </a:extLst>
                </p:cNvPr>
                <p:cNvSpPr/>
                <p:nvPr/>
              </p:nvSpPr>
              <p:spPr>
                <a:xfrm>
                  <a:off x="10022077" y="1906042"/>
                  <a:ext cx="1242404" cy="1206901"/>
                </a:xfrm>
                <a:prstGeom prst="arc">
                  <a:avLst>
                    <a:gd name="adj1" fmla="val 13536819"/>
                    <a:gd name="adj2" fmla="val 5439413"/>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grpSp>
        <p:sp>
          <p:nvSpPr>
            <p:cNvPr id="73" name="ee4pContent1">
              <a:extLst>
                <a:ext uri="{FF2B5EF4-FFF2-40B4-BE49-F238E27FC236}">
                  <a16:creationId xmlns:a16="http://schemas.microsoft.com/office/drawing/2014/main" id="{4F2C4CF8-21AC-48F9-9969-DC2098BD0E9F}"/>
                </a:ext>
              </a:extLst>
            </p:cNvPr>
            <p:cNvSpPr txBox="1"/>
            <p:nvPr/>
          </p:nvSpPr>
          <p:spPr>
            <a:xfrm>
              <a:off x="9621989" y="2790076"/>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b="1" dirty="0">
                  <a:solidFill>
                    <a:srgbClr val="164484"/>
                  </a:solidFill>
                  <a:latin typeface="+mj-lt"/>
                </a:rPr>
                <a:t>Farmers</a:t>
              </a:r>
              <a:r>
                <a:rPr lang="en-US" sz="1400" dirty="0">
                  <a:solidFill>
                    <a:srgbClr val="000000"/>
                  </a:solidFill>
                  <a:latin typeface="+mj-lt"/>
                </a:rPr>
                <a:t> will access agricultural technology and connections needed to help them thrive</a:t>
              </a:r>
            </a:p>
          </p:txBody>
        </p:sp>
        <p:grpSp>
          <p:nvGrpSpPr>
            <p:cNvPr id="156" name="Group 155">
              <a:extLst>
                <a:ext uri="{FF2B5EF4-FFF2-40B4-BE49-F238E27FC236}">
                  <a16:creationId xmlns:a16="http://schemas.microsoft.com/office/drawing/2014/main" id="{C476F14D-6885-41A4-8FA3-98F32E40FC65}"/>
                </a:ext>
              </a:extLst>
            </p:cNvPr>
            <p:cNvGrpSpPr>
              <a:grpSpLocks noChangeAspect="1"/>
            </p:cNvGrpSpPr>
            <p:nvPr/>
          </p:nvGrpSpPr>
          <p:grpSpPr>
            <a:xfrm>
              <a:off x="10118697" y="1735780"/>
              <a:ext cx="596271" cy="596271"/>
              <a:chOff x="7324950" y="3200401"/>
              <a:chExt cx="457200" cy="457200"/>
            </a:xfrm>
          </p:grpSpPr>
          <p:sp>
            <p:nvSpPr>
              <p:cNvPr id="157" name="AutoShape 31">
                <a:extLst>
                  <a:ext uri="{FF2B5EF4-FFF2-40B4-BE49-F238E27FC236}">
                    <a16:creationId xmlns:a16="http://schemas.microsoft.com/office/drawing/2014/main" id="{ADCDEA07-8083-4743-AE42-7320156D3A23}"/>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33">
                <a:extLst>
                  <a:ext uri="{FF2B5EF4-FFF2-40B4-BE49-F238E27FC236}">
                    <a16:creationId xmlns:a16="http://schemas.microsoft.com/office/drawing/2014/main" id="{3954E8AA-F7C7-46E8-B7A8-23CE902F020D}"/>
                  </a:ext>
                </a:extLst>
              </p:cNvPr>
              <p:cNvSpPr>
                <a:spLocks noEditPoints="1"/>
              </p:cNvSpPr>
              <p:nvPr/>
            </p:nvSpPr>
            <p:spPr bwMode="auto">
              <a:xfrm>
                <a:off x="7348811" y="3227918"/>
                <a:ext cx="410056" cy="402744"/>
              </a:xfrm>
              <a:custGeom>
                <a:avLst/>
                <a:gdLst>
                  <a:gd name="T0" fmla="*/ 731 w 896"/>
                  <a:gd name="T1" fmla="*/ 107 h 880"/>
                  <a:gd name="T2" fmla="*/ 726 w 896"/>
                  <a:gd name="T3" fmla="*/ 102 h 880"/>
                  <a:gd name="T4" fmla="*/ 447 w 896"/>
                  <a:gd name="T5" fmla="*/ 0 h 880"/>
                  <a:gd name="T6" fmla="*/ 170 w 896"/>
                  <a:gd name="T7" fmla="*/ 102 h 880"/>
                  <a:gd name="T8" fmla="*/ 165 w 896"/>
                  <a:gd name="T9" fmla="*/ 107 h 880"/>
                  <a:gd name="T10" fmla="*/ 0 w 896"/>
                  <a:gd name="T11" fmla="*/ 370 h 880"/>
                  <a:gd name="T12" fmla="*/ 3 w 896"/>
                  <a:gd name="T13" fmla="*/ 378 h 880"/>
                  <a:gd name="T14" fmla="*/ 58 w 896"/>
                  <a:gd name="T15" fmla="*/ 413 h 880"/>
                  <a:gd name="T16" fmla="*/ 67 w 896"/>
                  <a:gd name="T17" fmla="*/ 416 h 880"/>
                  <a:gd name="T18" fmla="*/ 74 w 896"/>
                  <a:gd name="T19" fmla="*/ 410 h 880"/>
                  <a:gd name="T20" fmla="*/ 100 w 896"/>
                  <a:gd name="T21" fmla="*/ 370 h 880"/>
                  <a:gd name="T22" fmla="*/ 100 w 896"/>
                  <a:gd name="T23" fmla="*/ 740 h 880"/>
                  <a:gd name="T24" fmla="*/ 241 w 896"/>
                  <a:gd name="T25" fmla="*/ 740 h 880"/>
                  <a:gd name="T26" fmla="*/ 252 w 896"/>
                  <a:gd name="T27" fmla="*/ 407 h 880"/>
                  <a:gd name="T28" fmla="*/ 437 w 896"/>
                  <a:gd name="T29" fmla="*/ 418 h 880"/>
                  <a:gd name="T30" fmla="*/ 459 w 896"/>
                  <a:gd name="T31" fmla="*/ 740 h 880"/>
                  <a:gd name="T32" fmla="*/ 470 w 896"/>
                  <a:gd name="T33" fmla="*/ 407 h 880"/>
                  <a:gd name="T34" fmla="*/ 655 w 896"/>
                  <a:gd name="T35" fmla="*/ 418 h 880"/>
                  <a:gd name="T36" fmla="*/ 767 w 896"/>
                  <a:gd name="T37" fmla="*/ 740 h 880"/>
                  <a:gd name="T38" fmla="*/ 789 w 896"/>
                  <a:gd name="T39" fmla="*/ 699 h 880"/>
                  <a:gd name="T40" fmla="*/ 791 w 896"/>
                  <a:gd name="T41" fmla="*/ 361 h 880"/>
                  <a:gd name="T42" fmla="*/ 822 w 896"/>
                  <a:gd name="T43" fmla="*/ 410 h 880"/>
                  <a:gd name="T44" fmla="*/ 828 w 896"/>
                  <a:gd name="T45" fmla="*/ 416 h 880"/>
                  <a:gd name="T46" fmla="*/ 834 w 896"/>
                  <a:gd name="T47" fmla="*/ 416 h 880"/>
                  <a:gd name="T48" fmla="*/ 891 w 896"/>
                  <a:gd name="T49" fmla="*/ 382 h 880"/>
                  <a:gd name="T50" fmla="*/ 896 w 896"/>
                  <a:gd name="T51" fmla="*/ 375 h 880"/>
                  <a:gd name="T52" fmla="*/ 895 w 896"/>
                  <a:gd name="T53" fmla="*/ 366 h 880"/>
                  <a:gd name="T54" fmla="*/ 400 w 896"/>
                  <a:gd name="T55" fmla="*/ 312 h 880"/>
                  <a:gd name="T56" fmla="*/ 491 w 896"/>
                  <a:gd name="T57" fmla="*/ 221 h 880"/>
                  <a:gd name="T58" fmla="*/ 875 w 896"/>
                  <a:gd name="T59" fmla="*/ 808 h 880"/>
                  <a:gd name="T60" fmla="*/ 864 w 896"/>
                  <a:gd name="T61" fmla="*/ 880 h 880"/>
                  <a:gd name="T62" fmla="*/ 14 w 896"/>
                  <a:gd name="T63" fmla="*/ 869 h 880"/>
                  <a:gd name="T64" fmla="*/ 26 w 896"/>
                  <a:gd name="T65" fmla="*/ 796 h 880"/>
                  <a:gd name="T66" fmla="*/ 72 w 896"/>
                  <a:gd name="T67" fmla="*/ 773 h 880"/>
                  <a:gd name="T68" fmla="*/ 806 w 896"/>
                  <a:gd name="T69" fmla="*/ 762 h 880"/>
                  <a:gd name="T70" fmla="*/ 817 w 896"/>
                  <a:gd name="T71" fmla="*/ 796 h 880"/>
                  <a:gd name="T72" fmla="*/ 875 w 896"/>
                  <a:gd name="T73" fmla="*/ 80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6" h="880">
                    <a:moveTo>
                      <a:pt x="895" y="366"/>
                    </a:moveTo>
                    <a:cubicBezTo>
                      <a:pt x="895" y="366"/>
                      <a:pt x="895" y="366"/>
                      <a:pt x="731" y="107"/>
                    </a:cubicBezTo>
                    <a:cubicBezTo>
                      <a:pt x="731" y="107"/>
                      <a:pt x="731" y="107"/>
                      <a:pt x="729" y="105"/>
                    </a:cubicBezTo>
                    <a:cubicBezTo>
                      <a:pt x="729" y="105"/>
                      <a:pt x="729" y="105"/>
                      <a:pt x="726" y="102"/>
                    </a:cubicBezTo>
                    <a:cubicBezTo>
                      <a:pt x="726" y="102"/>
                      <a:pt x="726" y="102"/>
                      <a:pt x="452" y="0"/>
                    </a:cubicBezTo>
                    <a:cubicBezTo>
                      <a:pt x="452" y="0"/>
                      <a:pt x="452" y="0"/>
                      <a:pt x="447" y="0"/>
                    </a:cubicBezTo>
                    <a:cubicBezTo>
                      <a:pt x="447" y="0"/>
                      <a:pt x="447" y="0"/>
                      <a:pt x="444" y="0"/>
                    </a:cubicBezTo>
                    <a:cubicBezTo>
                      <a:pt x="444" y="0"/>
                      <a:pt x="444" y="0"/>
                      <a:pt x="170" y="102"/>
                    </a:cubicBezTo>
                    <a:cubicBezTo>
                      <a:pt x="170" y="102"/>
                      <a:pt x="170" y="102"/>
                      <a:pt x="167" y="105"/>
                    </a:cubicBezTo>
                    <a:cubicBezTo>
                      <a:pt x="167" y="105"/>
                      <a:pt x="167" y="105"/>
                      <a:pt x="165" y="107"/>
                    </a:cubicBezTo>
                    <a:cubicBezTo>
                      <a:pt x="165" y="107"/>
                      <a:pt x="165" y="107"/>
                      <a:pt x="1" y="366"/>
                    </a:cubicBezTo>
                    <a:cubicBezTo>
                      <a:pt x="1" y="366"/>
                      <a:pt x="1" y="366"/>
                      <a:pt x="0" y="370"/>
                    </a:cubicBezTo>
                    <a:cubicBezTo>
                      <a:pt x="0" y="370"/>
                      <a:pt x="0" y="370"/>
                      <a:pt x="0" y="375"/>
                    </a:cubicBezTo>
                    <a:cubicBezTo>
                      <a:pt x="0" y="375"/>
                      <a:pt x="0" y="375"/>
                      <a:pt x="3" y="378"/>
                    </a:cubicBezTo>
                    <a:cubicBezTo>
                      <a:pt x="3" y="378"/>
                      <a:pt x="3" y="378"/>
                      <a:pt x="5" y="382"/>
                    </a:cubicBezTo>
                    <a:cubicBezTo>
                      <a:pt x="5" y="382"/>
                      <a:pt x="5" y="382"/>
                      <a:pt x="58" y="413"/>
                    </a:cubicBezTo>
                    <a:cubicBezTo>
                      <a:pt x="58" y="413"/>
                      <a:pt x="58" y="413"/>
                      <a:pt x="63" y="416"/>
                    </a:cubicBezTo>
                    <a:cubicBezTo>
                      <a:pt x="63" y="416"/>
                      <a:pt x="63" y="416"/>
                      <a:pt x="67" y="416"/>
                    </a:cubicBezTo>
                    <a:cubicBezTo>
                      <a:pt x="67" y="416"/>
                      <a:pt x="67" y="416"/>
                      <a:pt x="71" y="413"/>
                    </a:cubicBezTo>
                    <a:cubicBezTo>
                      <a:pt x="71" y="413"/>
                      <a:pt x="71" y="413"/>
                      <a:pt x="74" y="410"/>
                    </a:cubicBezTo>
                    <a:cubicBezTo>
                      <a:pt x="74" y="410"/>
                      <a:pt x="74" y="410"/>
                      <a:pt x="91" y="385"/>
                    </a:cubicBezTo>
                    <a:cubicBezTo>
                      <a:pt x="91" y="385"/>
                      <a:pt x="91" y="385"/>
                      <a:pt x="100" y="370"/>
                    </a:cubicBezTo>
                    <a:cubicBezTo>
                      <a:pt x="100" y="699"/>
                      <a:pt x="100" y="699"/>
                      <a:pt x="100" y="699"/>
                    </a:cubicBezTo>
                    <a:cubicBezTo>
                      <a:pt x="100" y="740"/>
                      <a:pt x="100" y="740"/>
                      <a:pt x="100" y="740"/>
                    </a:cubicBezTo>
                    <a:cubicBezTo>
                      <a:pt x="124" y="740"/>
                      <a:pt x="124" y="740"/>
                      <a:pt x="124" y="740"/>
                    </a:cubicBezTo>
                    <a:cubicBezTo>
                      <a:pt x="241" y="740"/>
                      <a:pt x="241" y="740"/>
                      <a:pt x="241" y="740"/>
                    </a:cubicBezTo>
                    <a:cubicBezTo>
                      <a:pt x="241" y="725"/>
                      <a:pt x="241" y="663"/>
                      <a:pt x="241" y="418"/>
                    </a:cubicBezTo>
                    <a:cubicBezTo>
                      <a:pt x="241" y="412"/>
                      <a:pt x="246" y="407"/>
                      <a:pt x="252" y="407"/>
                    </a:cubicBezTo>
                    <a:cubicBezTo>
                      <a:pt x="252" y="407"/>
                      <a:pt x="252" y="407"/>
                      <a:pt x="426" y="407"/>
                    </a:cubicBezTo>
                    <a:cubicBezTo>
                      <a:pt x="432" y="407"/>
                      <a:pt x="437" y="412"/>
                      <a:pt x="437" y="418"/>
                    </a:cubicBezTo>
                    <a:cubicBezTo>
                      <a:pt x="437" y="418"/>
                      <a:pt x="437" y="418"/>
                      <a:pt x="437" y="740"/>
                    </a:cubicBezTo>
                    <a:cubicBezTo>
                      <a:pt x="459" y="740"/>
                      <a:pt x="459" y="740"/>
                      <a:pt x="459" y="740"/>
                    </a:cubicBezTo>
                    <a:cubicBezTo>
                      <a:pt x="459" y="725"/>
                      <a:pt x="459" y="663"/>
                      <a:pt x="459" y="418"/>
                    </a:cubicBezTo>
                    <a:cubicBezTo>
                      <a:pt x="459" y="412"/>
                      <a:pt x="464" y="407"/>
                      <a:pt x="470" y="407"/>
                    </a:cubicBezTo>
                    <a:cubicBezTo>
                      <a:pt x="470" y="407"/>
                      <a:pt x="470" y="407"/>
                      <a:pt x="644" y="407"/>
                    </a:cubicBezTo>
                    <a:cubicBezTo>
                      <a:pt x="650" y="407"/>
                      <a:pt x="655" y="412"/>
                      <a:pt x="655" y="418"/>
                    </a:cubicBezTo>
                    <a:cubicBezTo>
                      <a:pt x="655" y="418"/>
                      <a:pt x="655" y="418"/>
                      <a:pt x="655" y="740"/>
                    </a:cubicBezTo>
                    <a:cubicBezTo>
                      <a:pt x="767" y="740"/>
                      <a:pt x="767" y="740"/>
                      <a:pt x="767" y="740"/>
                    </a:cubicBezTo>
                    <a:cubicBezTo>
                      <a:pt x="789" y="740"/>
                      <a:pt x="789" y="740"/>
                      <a:pt x="789" y="740"/>
                    </a:cubicBezTo>
                    <a:cubicBezTo>
                      <a:pt x="789" y="699"/>
                      <a:pt x="789" y="699"/>
                      <a:pt x="789" y="699"/>
                    </a:cubicBezTo>
                    <a:cubicBezTo>
                      <a:pt x="789" y="358"/>
                      <a:pt x="789" y="358"/>
                      <a:pt x="789" y="358"/>
                    </a:cubicBezTo>
                    <a:cubicBezTo>
                      <a:pt x="789" y="359"/>
                      <a:pt x="790" y="360"/>
                      <a:pt x="791" y="361"/>
                    </a:cubicBezTo>
                    <a:cubicBezTo>
                      <a:pt x="791" y="361"/>
                      <a:pt x="791" y="361"/>
                      <a:pt x="806" y="385"/>
                    </a:cubicBezTo>
                    <a:cubicBezTo>
                      <a:pt x="806" y="385"/>
                      <a:pt x="806" y="385"/>
                      <a:pt x="822" y="410"/>
                    </a:cubicBezTo>
                    <a:cubicBezTo>
                      <a:pt x="822" y="410"/>
                      <a:pt x="822" y="410"/>
                      <a:pt x="824" y="413"/>
                    </a:cubicBezTo>
                    <a:cubicBezTo>
                      <a:pt x="824" y="413"/>
                      <a:pt x="824" y="413"/>
                      <a:pt x="828" y="416"/>
                    </a:cubicBezTo>
                    <a:cubicBezTo>
                      <a:pt x="828" y="416"/>
                      <a:pt x="828" y="416"/>
                      <a:pt x="831" y="416"/>
                    </a:cubicBezTo>
                    <a:cubicBezTo>
                      <a:pt x="831" y="416"/>
                      <a:pt x="831" y="416"/>
                      <a:pt x="834" y="416"/>
                    </a:cubicBezTo>
                    <a:cubicBezTo>
                      <a:pt x="834" y="416"/>
                      <a:pt x="834" y="416"/>
                      <a:pt x="838" y="413"/>
                    </a:cubicBezTo>
                    <a:cubicBezTo>
                      <a:pt x="838" y="413"/>
                      <a:pt x="838" y="413"/>
                      <a:pt x="891" y="382"/>
                    </a:cubicBezTo>
                    <a:cubicBezTo>
                      <a:pt x="891" y="382"/>
                      <a:pt x="891" y="382"/>
                      <a:pt x="893" y="378"/>
                    </a:cubicBezTo>
                    <a:cubicBezTo>
                      <a:pt x="893" y="378"/>
                      <a:pt x="893" y="378"/>
                      <a:pt x="896" y="375"/>
                    </a:cubicBezTo>
                    <a:cubicBezTo>
                      <a:pt x="896" y="375"/>
                      <a:pt x="896" y="375"/>
                      <a:pt x="896" y="370"/>
                    </a:cubicBezTo>
                    <a:cubicBezTo>
                      <a:pt x="896" y="370"/>
                      <a:pt x="896" y="370"/>
                      <a:pt x="895" y="366"/>
                    </a:cubicBezTo>
                    <a:close/>
                    <a:moveTo>
                      <a:pt x="491" y="312"/>
                    </a:moveTo>
                    <a:cubicBezTo>
                      <a:pt x="400" y="312"/>
                      <a:pt x="400" y="312"/>
                      <a:pt x="400" y="312"/>
                    </a:cubicBezTo>
                    <a:cubicBezTo>
                      <a:pt x="400" y="221"/>
                      <a:pt x="400" y="221"/>
                      <a:pt x="400" y="221"/>
                    </a:cubicBezTo>
                    <a:cubicBezTo>
                      <a:pt x="491" y="221"/>
                      <a:pt x="491" y="221"/>
                      <a:pt x="491" y="221"/>
                    </a:cubicBezTo>
                    <a:cubicBezTo>
                      <a:pt x="491" y="312"/>
                      <a:pt x="491" y="312"/>
                      <a:pt x="491" y="312"/>
                    </a:cubicBezTo>
                    <a:close/>
                    <a:moveTo>
                      <a:pt x="875" y="808"/>
                    </a:moveTo>
                    <a:cubicBezTo>
                      <a:pt x="875" y="808"/>
                      <a:pt x="875" y="808"/>
                      <a:pt x="875" y="869"/>
                    </a:cubicBezTo>
                    <a:cubicBezTo>
                      <a:pt x="875" y="875"/>
                      <a:pt x="870" y="880"/>
                      <a:pt x="864" y="880"/>
                    </a:cubicBezTo>
                    <a:cubicBezTo>
                      <a:pt x="864" y="880"/>
                      <a:pt x="864" y="880"/>
                      <a:pt x="26" y="880"/>
                    </a:cubicBezTo>
                    <a:cubicBezTo>
                      <a:pt x="19" y="880"/>
                      <a:pt x="14" y="875"/>
                      <a:pt x="14" y="869"/>
                    </a:cubicBezTo>
                    <a:cubicBezTo>
                      <a:pt x="14" y="869"/>
                      <a:pt x="14" y="869"/>
                      <a:pt x="14" y="808"/>
                    </a:cubicBezTo>
                    <a:cubicBezTo>
                      <a:pt x="14" y="801"/>
                      <a:pt x="19" y="796"/>
                      <a:pt x="26" y="796"/>
                    </a:cubicBezTo>
                    <a:cubicBezTo>
                      <a:pt x="26" y="796"/>
                      <a:pt x="26" y="796"/>
                      <a:pt x="72" y="796"/>
                    </a:cubicBezTo>
                    <a:cubicBezTo>
                      <a:pt x="72" y="796"/>
                      <a:pt x="72" y="796"/>
                      <a:pt x="72" y="773"/>
                    </a:cubicBezTo>
                    <a:cubicBezTo>
                      <a:pt x="72" y="767"/>
                      <a:pt x="77" y="762"/>
                      <a:pt x="83" y="762"/>
                    </a:cubicBezTo>
                    <a:cubicBezTo>
                      <a:pt x="83" y="762"/>
                      <a:pt x="83" y="762"/>
                      <a:pt x="806" y="762"/>
                    </a:cubicBezTo>
                    <a:cubicBezTo>
                      <a:pt x="812" y="762"/>
                      <a:pt x="817" y="767"/>
                      <a:pt x="817" y="773"/>
                    </a:cubicBezTo>
                    <a:cubicBezTo>
                      <a:pt x="817" y="773"/>
                      <a:pt x="817" y="773"/>
                      <a:pt x="817" y="796"/>
                    </a:cubicBezTo>
                    <a:cubicBezTo>
                      <a:pt x="817" y="796"/>
                      <a:pt x="817" y="796"/>
                      <a:pt x="864" y="796"/>
                    </a:cubicBezTo>
                    <a:cubicBezTo>
                      <a:pt x="870" y="796"/>
                      <a:pt x="875" y="801"/>
                      <a:pt x="875" y="808"/>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2" name="Group 41">
            <a:extLst>
              <a:ext uri="{FF2B5EF4-FFF2-40B4-BE49-F238E27FC236}">
                <a16:creationId xmlns:a16="http://schemas.microsoft.com/office/drawing/2014/main" id="{F97737A5-28F6-40B6-ACEA-0A143A896311}"/>
              </a:ext>
            </a:extLst>
          </p:cNvPr>
          <p:cNvGrpSpPr/>
          <p:nvPr/>
        </p:nvGrpSpPr>
        <p:grpSpPr>
          <a:xfrm>
            <a:off x="7758830" y="1591357"/>
            <a:ext cx="1694436" cy="2197598"/>
            <a:chOff x="7750975" y="1591357"/>
            <a:chExt cx="1694436" cy="2197598"/>
          </a:xfrm>
        </p:grpSpPr>
        <p:grpSp>
          <p:nvGrpSpPr>
            <p:cNvPr id="55" name="Group 54">
              <a:extLst>
                <a:ext uri="{FF2B5EF4-FFF2-40B4-BE49-F238E27FC236}">
                  <a16:creationId xmlns:a16="http://schemas.microsoft.com/office/drawing/2014/main" id="{8B7083D0-6954-4350-9E61-2C2DA0CB6252}"/>
                </a:ext>
              </a:extLst>
            </p:cNvPr>
            <p:cNvGrpSpPr>
              <a:grpSpLocks/>
            </p:cNvGrpSpPr>
            <p:nvPr/>
          </p:nvGrpSpPr>
          <p:grpSpPr>
            <a:xfrm>
              <a:off x="7908140" y="1591357"/>
              <a:ext cx="1380106" cy="1096604"/>
              <a:chOff x="2903302" y="1906042"/>
              <a:chExt cx="1840142" cy="1462139"/>
            </a:xfrm>
          </p:grpSpPr>
          <p:grpSp>
            <p:nvGrpSpPr>
              <p:cNvPr id="56" name="Group 55">
                <a:extLst>
                  <a:ext uri="{FF2B5EF4-FFF2-40B4-BE49-F238E27FC236}">
                    <a16:creationId xmlns:a16="http://schemas.microsoft.com/office/drawing/2014/main" id="{5D33A24C-4B40-481E-8D6E-DA400B118FF1}"/>
                  </a:ext>
                </a:extLst>
              </p:cNvPr>
              <p:cNvGrpSpPr/>
              <p:nvPr/>
            </p:nvGrpSpPr>
            <p:grpSpPr>
              <a:xfrm>
                <a:off x="2903302" y="1906042"/>
                <a:ext cx="1840142" cy="1462138"/>
                <a:chOff x="3031532" y="1906042"/>
                <a:chExt cx="1840142" cy="1462138"/>
              </a:xfrm>
            </p:grpSpPr>
            <p:grpSp>
              <p:nvGrpSpPr>
                <p:cNvPr id="58" name="Group 57">
                  <a:extLst>
                    <a:ext uri="{FF2B5EF4-FFF2-40B4-BE49-F238E27FC236}">
                      <a16:creationId xmlns:a16="http://schemas.microsoft.com/office/drawing/2014/main" id="{7C53EA74-13F6-405E-ADF8-90154F720549}"/>
                    </a:ext>
                  </a:extLst>
                </p:cNvPr>
                <p:cNvGrpSpPr/>
                <p:nvPr/>
              </p:nvGrpSpPr>
              <p:grpSpPr>
                <a:xfrm>
                  <a:off x="3426977" y="1906042"/>
                  <a:ext cx="1049253" cy="1206903"/>
                  <a:chOff x="3555292" y="1733086"/>
                  <a:chExt cx="1049253" cy="1206903"/>
                </a:xfrm>
              </p:grpSpPr>
              <p:sp>
                <p:nvSpPr>
                  <p:cNvPr id="60" name="Arc 59">
                    <a:extLst>
                      <a:ext uri="{FF2B5EF4-FFF2-40B4-BE49-F238E27FC236}">
                        <a16:creationId xmlns:a16="http://schemas.microsoft.com/office/drawing/2014/main" id="{617868B2-6D1A-4D78-9101-F195CAEA7AEE}"/>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61" name="Arc 60">
                    <a:extLst>
                      <a:ext uri="{FF2B5EF4-FFF2-40B4-BE49-F238E27FC236}">
                        <a16:creationId xmlns:a16="http://schemas.microsoft.com/office/drawing/2014/main" id="{98FA2F06-0897-4ECC-A52B-082B822991DD}"/>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59" name="Straight Connector 58">
                  <a:extLst>
                    <a:ext uri="{FF2B5EF4-FFF2-40B4-BE49-F238E27FC236}">
                      <a16:creationId xmlns:a16="http://schemas.microsoft.com/office/drawing/2014/main" id="{E85BC0D2-A97F-49BA-889B-DD4374FAD00B}"/>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57" name="Straight Connector 56">
                <a:extLst>
                  <a:ext uri="{FF2B5EF4-FFF2-40B4-BE49-F238E27FC236}">
                    <a16:creationId xmlns:a16="http://schemas.microsoft.com/office/drawing/2014/main" id="{8DA8A729-4890-4C4E-BC8F-A733F545E207}"/>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72" name="ee4pContent1">
              <a:extLst>
                <a:ext uri="{FF2B5EF4-FFF2-40B4-BE49-F238E27FC236}">
                  <a16:creationId xmlns:a16="http://schemas.microsoft.com/office/drawing/2014/main" id="{9A4EF826-7134-42B0-BB68-137BEF94EEE4}"/>
                </a:ext>
              </a:extLst>
            </p:cNvPr>
            <p:cNvSpPr txBox="1"/>
            <p:nvPr/>
          </p:nvSpPr>
          <p:spPr>
            <a:xfrm>
              <a:off x="7750975" y="2790076"/>
              <a:ext cx="1694436"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b="1" dirty="0">
                  <a:solidFill>
                    <a:srgbClr val="164484"/>
                  </a:solidFill>
                  <a:latin typeface="+mj-lt"/>
                </a:rPr>
                <a:t>Business owners </a:t>
              </a:r>
              <a:r>
                <a:rPr lang="en-US" sz="1400" dirty="0">
                  <a:solidFill>
                    <a:srgbClr val="000000"/>
                  </a:solidFill>
                  <a:latin typeface="+mj-lt"/>
                </a:rPr>
                <a:t>will have freedom to sell their goods to a wide range of buyers</a:t>
              </a:r>
            </a:p>
          </p:txBody>
        </p:sp>
        <p:grpSp>
          <p:nvGrpSpPr>
            <p:cNvPr id="160" name="Group 41">
              <a:extLst>
                <a:ext uri="{FF2B5EF4-FFF2-40B4-BE49-F238E27FC236}">
                  <a16:creationId xmlns:a16="http://schemas.microsoft.com/office/drawing/2014/main" id="{AB9C2FD7-42FF-4D5C-9DF0-F1CA3D2E26E2}"/>
                </a:ext>
              </a:extLst>
            </p:cNvPr>
            <p:cNvGrpSpPr>
              <a:grpSpLocks noChangeAspect="1"/>
            </p:cNvGrpSpPr>
            <p:nvPr/>
          </p:nvGrpSpPr>
          <p:grpSpPr bwMode="auto">
            <a:xfrm>
              <a:off x="8300057" y="1735780"/>
              <a:ext cx="596271" cy="596271"/>
              <a:chOff x="1060" y="1338"/>
              <a:chExt cx="288" cy="288"/>
            </a:xfrm>
          </p:grpSpPr>
          <p:sp>
            <p:nvSpPr>
              <p:cNvPr id="161" name="AutoShape 40">
                <a:extLst>
                  <a:ext uri="{FF2B5EF4-FFF2-40B4-BE49-F238E27FC236}">
                    <a16:creationId xmlns:a16="http://schemas.microsoft.com/office/drawing/2014/main" id="{9901F3CB-0FF5-48DA-AE44-00D1CA648985}"/>
                  </a:ext>
                </a:extLst>
              </p:cNvPr>
              <p:cNvSpPr>
                <a:spLocks noChangeAspect="1" noChangeArrowheads="1" noTextEdit="1"/>
              </p:cNvSpPr>
              <p:nvPr/>
            </p:nvSpPr>
            <p:spPr bwMode="auto">
              <a:xfrm>
                <a:off x="1060" y="1338"/>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42">
                <a:extLst>
                  <a:ext uri="{FF2B5EF4-FFF2-40B4-BE49-F238E27FC236}">
                    <a16:creationId xmlns:a16="http://schemas.microsoft.com/office/drawing/2014/main" id="{C4546C42-5211-44B6-93FE-D1EE04AD4A49}"/>
                  </a:ext>
                </a:extLst>
              </p:cNvPr>
              <p:cNvSpPr>
                <a:spLocks noEditPoints="1"/>
              </p:cNvSpPr>
              <p:nvPr/>
            </p:nvSpPr>
            <p:spPr bwMode="auto">
              <a:xfrm>
                <a:off x="1077" y="1372"/>
                <a:ext cx="254" cy="222"/>
              </a:xfrm>
              <a:custGeom>
                <a:avLst/>
                <a:gdLst>
                  <a:gd name="T0" fmla="*/ 0 w 880"/>
                  <a:gd name="T1" fmla="*/ 22 h 769"/>
                  <a:gd name="T2" fmla="*/ 337 w 880"/>
                  <a:gd name="T3" fmla="*/ 640 h 769"/>
                  <a:gd name="T4" fmla="*/ 254 w 880"/>
                  <a:gd name="T5" fmla="*/ 747 h 769"/>
                  <a:gd name="T6" fmla="*/ 626 w 880"/>
                  <a:gd name="T7" fmla="*/ 747 h 769"/>
                  <a:gd name="T8" fmla="*/ 543 w 880"/>
                  <a:gd name="T9" fmla="*/ 640 h 769"/>
                  <a:gd name="T10" fmla="*/ 880 w 880"/>
                  <a:gd name="T11" fmla="*/ 22 h 769"/>
                  <a:gd name="T12" fmla="*/ 405 w 880"/>
                  <a:gd name="T13" fmla="*/ 563 h 769"/>
                  <a:gd name="T14" fmla="*/ 440 w 880"/>
                  <a:gd name="T15" fmla="*/ 598 h 769"/>
                  <a:gd name="T16" fmla="*/ 70 w 880"/>
                  <a:gd name="T17" fmla="*/ 498 h 769"/>
                  <a:gd name="T18" fmla="*/ 70 w 880"/>
                  <a:gd name="T19" fmla="*/ 62 h 769"/>
                  <a:gd name="T20" fmla="*/ 820 w 880"/>
                  <a:gd name="T21" fmla="*/ 488 h 769"/>
                  <a:gd name="T22" fmla="*/ 369 w 880"/>
                  <a:gd name="T23" fmla="*/ 454 h 769"/>
                  <a:gd name="T24" fmla="*/ 635 w 880"/>
                  <a:gd name="T25" fmla="*/ 145 h 769"/>
                  <a:gd name="T26" fmla="*/ 331 w 880"/>
                  <a:gd name="T27" fmla="*/ 152 h 769"/>
                  <a:gd name="T28" fmla="*/ 403 w 880"/>
                  <a:gd name="T29" fmla="*/ 171 h 769"/>
                  <a:gd name="T30" fmla="*/ 403 w 880"/>
                  <a:gd name="T31" fmla="*/ 195 h 769"/>
                  <a:gd name="T32" fmla="*/ 343 w 880"/>
                  <a:gd name="T33" fmla="*/ 221 h 769"/>
                  <a:gd name="T34" fmla="*/ 405 w 880"/>
                  <a:gd name="T35" fmla="*/ 225 h 769"/>
                  <a:gd name="T36" fmla="*/ 350 w 880"/>
                  <a:gd name="T37" fmla="*/ 247 h 769"/>
                  <a:gd name="T38" fmla="*/ 355 w 880"/>
                  <a:gd name="T39" fmla="*/ 275 h 769"/>
                  <a:gd name="T40" fmla="*/ 405 w 880"/>
                  <a:gd name="T41" fmla="*/ 297 h 769"/>
                  <a:gd name="T42" fmla="*/ 357 w 880"/>
                  <a:gd name="T43" fmla="*/ 302 h 769"/>
                  <a:gd name="T44" fmla="*/ 367 w 880"/>
                  <a:gd name="T45" fmla="*/ 327 h 769"/>
                  <a:gd name="T46" fmla="*/ 618 w 880"/>
                  <a:gd name="T47" fmla="*/ 302 h 769"/>
                  <a:gd name="T48" fmla="*/ 570 w 880"/>
                  <a:gd name="T49" fmla="*/ 297 h 769"/>
                  <a:gd name="T50" fmla="*/ 621 w 880"/>
                  <a:gd name="T51" fmla="*/ 275 h 769"/>
                  <a:gd name="T52" fmla="*/ 624 w 880"/>
                  <a:gd name="T53" fmla="*/ 247 h 769"/>
                  <a:gd name="T54" fmla="*/ 570 w 880"/>
                  <a:gd name="T55" fmla="*/ 225 h 769"/>
                  <a:gd name="T56" fmla="*/ 631 w 880"/>
                  <a:gd name="T57" fmla="*/ 221 h 769"/>
                  <a:gd name="T58" fmla="*/ 572 w 880"/>
                  <a:gd name="T59" fmla="*/ 195 h 769"/>
                  <a:gd name="T60" fmla="*/ 572 w 880"/>
                  <a:gd name="T61" fmla="*/ 171 h 769"/>
                  <a:gd name="T62" fmla="*/ 641 w 880"/>
                  <a:gd name="T63" fmla="*/ 152 h 769"/>
                  <a:gd name="T64" fmla="*/ 478 w 880"/>
                  <a:gd name="T65" fmla="*/ 297 h 769"/>
                  <a:gd name="T66" fmla="*/ 424 w 880"/>
                  <a:gd name="T67" fmla="*/ 297 h 769"/>
                  <a:gd name="T68" fmla="*/ 476 w 880"/>
                  <a:gd name="T69" fmla="*/ 275 h 769"/>
                  <a:gd name="T70" fmla="*/ 478 w 880"/>
                  <a:gd name="T71" fmla="*/ 245 h 769"/>
                  <a:gd name="T72" fmla="*/ 424 w 880"/>
                  <a:gd name="T73" fmla="*/ 245 h 769"/>
                  <a:gd name="T74" fmla="*/ 476 w 880"/>
                  <a:gd name="T75" fmla="*/ 223 h 769"/>
                  <a:gd name="T76" fmla="*/ 478 w 880"/>
                  <a:gd name="T77" fmla="*/ 193 h 769"/>
                  <a:gd name="T78" fmla="*/ 424 w 880"/>
                  <a:gd name="T79" fmla="*/ 193 h 769"/>
                  <a:gd name="T80" fmla="*/ 476 w 880"/>
                  <a:gd name="T81" fmla="*/ 171 h 769"/>
                  <a:gd name="T82" fmla="*/ 551 w 880"/>
                  <a:gd name="T83" fmla="*/ 297 h 769"/>
                  <a:gd name="T84" fmla="*/ 497 w 880"/>
                  <a:gd name="T85" fmla="*/ 297 h 769"/>
                  <a:gd name="T86" fmla="*/ 549 w 880"/>
                  <a:gd name="T87" fmla="*/ 275 h 769"/>
                  <a:gd name="T88" fmla="*/ 551 w 880"/>
                  <a:gd name="T89" fmla="*/ 245 h 769"/>
                  <a:gd name="T90" fmla="*/ 497 w 880"/>
                  <a:gd name="T91" fmla="*/ 245 h 769"/>
                  <a:gd name="T92" fmla="*/ 549 w 880"/>
                  <a:gd name="T93" fmla="*/ 223 h 769"/>
                  <a:gd name="T94" fmla="*/ 551 w 880"/>
                  <a:gd name="T95" fmla="*/ 193 h 769"/>
                  <a:gd name="T96" fmla="*/ 497 w 880"/>
                  <a:gd name="T97" fmla="*/ 193 h 769"/>
                  <a:gd name="T98" fmla="*/ 549 w 880"/>
                  <a:gd name="T99" fmla="*/ 171 h 769"/>
                  <a:gd name="T100" fmla="*/ 580 w 880"/>
                  <a:gd name="T101" fmla="*/ 343 h 769"/>
                  <a:gd name="T102" fmla="*/ 301 w 880"/>
                  <a:gd name="T103" fmla="*/ 106 h 769"/>
                  <a:gd name="T104" fmla="*/ 249 w 880"/>
                  <a:gd name="T105" fmla="*/ 126 h 769"/>
                  <a:gd name="T106" fmla="*/ 342 w 880"/>
                  <a:gd name="T107" fmla="*/ 364 h 769"/>
                  <a:gd name="T108" fmla="*/ 580 w 880"/>
                  <a:gd name="T109" fmla="*/ 343 h 769"/>
                  <a:gd name="T110" fmla="*/ 552 w 880"/>
                  <a:gd name="T111" fmla="*/ 454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769">
                    <a:moveTo>
                      <a:pt x="858" y="0"/>
                    </a:moveTo>
                    <a:cubicBezTo>
                      <a:pt x="22" y="0"/>
                      <a:pt x="22" y="0"/>
                      <a:pt x="22" y="0"/>
                    </a:cubicBezTo>
                    <a:cubicBezTo>
                      <a:pt x="10" y="0"/>
                      <a:pt x="0" y="10"/>
                      <a:pt x="0" y="22"/>
                    </a:cubicBezTo>
                    <a:cubicBezTo>
                      <a:pt x="0" y="618"/>
                      <a:pt x="0" y="618"/>
                      <a:pt x="0" y="618"/>
                    </a:cubicBezTo>
                    <a:cubicBezTo>
                      <a:pt x="0" y="630"/>
                      <a:pt x="10" y="640"/>
                      <a:pt x="22" y="640"/>
                    </a:cubicBezTo>
                    <a:cubicBezTo>
                      <a:pt x="337" y="640"/>
                      <a:pt x="337" y="640"/>
                      <a:pt x="337" y="640"/>
                    </a:cubicBezTo>
                    <a:cubicBezTo>
                      <a:pt x="337" y="725"/>
                      <a:pt x="337" y="725"/>
                      <a:pt x="337" y="725"/>
                    </a:cubicBezTo>
                    <a:cubicBezTo>
                      <a:pt x="276" y="725"/>
                      <a:pt x="276" y="725"/>
                      <a:pt x="276" y="725"/>
                    </a:cubicBezTo>
                    <a:cubicBezTo>
                      <a:pt x="264" y="725"/>
                      <a:pt x="254" y="734"/>
                      <a:pt x="254" y="747"/>
                    </a:cubicBezTo>
                    <a:cubicBezTo>
                      <a:pt x="254" y="759"/>
                      <a:pt x="264" y="769"/>
                      <a:pt x="276" y="769"/>
                    </a:cubicBezTo>
                    <a:cubicBezTo>
                      <a:pt x="604" y="769"/>
                      <a:pt x="604" y="769"/>
                      <a:pt x="604" y="769"/>
                    </a:cubicBezTo>
                    <a:cubicBezTo>
                      <a:pt x="616" y="769"/>
                      <a:pt x="626" y="759"/>
                      <a:pt x="626" y="747"/>
                    </a:cubicBezTo>
                    <a:cubicBezTo>
                      <a:pt x="626" y="734"/>
                      <a:pt x="616" y="725"/>
                      <a:pt x="604" y="725"/>
                    </a:cubicBezTo>
                    <a:cubicBezTo>
                      <a:pt x="543" y="725"/>
                      <a:pt x="543" y="725"/>
                      <a:pt x="543" y="725"/>
                    </a:cubicBezTo>
                    <a:cubicBezTo>
                      <a:pt x="543" y="640"/>
                      <a:pt x="543" y="640"/>
                      <a:pt x="543" y="640"/>
                    </a:cubicBezTo>
                    <a:cubicBezTo>
                      <a:pt x="858" y="640"/>
                      <a:pt x="858" y="640"/>
                      <a:pt x="858" y="640"/>
                    </a:cubicBezTo>
                    <a:cubicBezTo>
                      <a:pt x="870" y="640"/>
                      <a:pt x="880" y="630"/>
                      <a:pt x="880" y="618"/>
                    </a:cubicBezTo>
                    <a:cubicBezTo>
                      <a:pt x="880" y="22"/>
                      <a:pt x="880" y="22"/>
                      <a:pt x="880" y="22"/>
                    </a:cubicBezTo>
                    <a:cubicBezTo>
                      <a:pt x="880" y="10"/>
                      <a:pt x="870" y="0"/>
                      <a:pt x="858" y="0"/>
                    </a:cubicBezTo>
                    <a:close/>
                    <a:moveTo>
                      <a:pt x="440" y="598"/>
                    </a:moveTo>
                    <a:cubicBezTo>
                      <a:pt x="421" y="598"/>
                      <a:pt x="405" y="582"/>
                      <a:pt x="405" y="563"/>
                    </a:cubicBezTo>
                    <a:cubicBezTo>
                      <a:pt x="405" y="543"/>
                      <a:pt x="421" y="527"/>
                      <a:pt x="440" y="527"/>
                    </a:cubicBezTo>
                    <a:cubicBezTo>
                      <a:pt x="459" y="527"/>
                      <a:pt x="475" y="543"/>
                      <a:pt x="475" y="563"/>
                    </a:cubicBezTo>
                    <a:cubicBezTo>
                      <a:pt x="475" y="582"/>
                      <a:pt x="459" y="598"/>
                      <a:pt x="440" y="598"/>
                    </a:cubicBezTo>
                    <a:close/>
                    <a:moveTo>
                      <a:pt x="820" y="488"/>
                    </a:moveTo>
                    <a:cubicBezTo>
                      <a:pt x="820" y="493"/>
                      <a:pt x="816" y="498"/>
                      <a:pt x="810" y="498"/>
                    </a:cubicBezTo>
                    <a:cubicBezTo>
                      <a:pt x="70" y="498"/>
                      <a:pt x="70" y="498"/>
                      <a:pt x="70" y="498"/>
                    </a:cubicBezTo>
                    <a:cubicBezTo>
                      <a:pt x="64" y="498"/>
                      <a:pt x="60" y="493"/>
                      <a:pt x="60" y="488"/>
                    </a:cubicBezTo>
                    <a:cubicBezTo>
                      <a:pt x="60" y="72"/>
                      <a:pt x="60" y="72"/>
                      <a:pt x="60" y="72"/>
                    </a:cubicBezTo>
                    <a:cubicBezTo>
                      <a:pt x="60" y="67"/>
                      <a:pt x="64" y="62"/>
                      <a:pt x="70" y="62"/>
                    </a:cubicBezTo>
                    <a:cubicBezTo>
                      <a:pt x="810" y="62"/>
                      <a:pt x="810" y="62"/>
                      <a:pt x="810" y="62"/>
                    </a:cubicBezTo>
                    <a:cubicBezTo>
                      <a:pt x="816" y="62"/>
                      <a:pt x="820" y="67"/>
                      <a:pt x="820" y="72"/>
                    </a:cubicBezTo>
                    <a:lnTo>
                      <a:pt x="820" y="488"/>
                    </a:lnTo>
                    <a:close/>
                    <a:moveTo>
                      <a:pt x="369" y="383"/>
                    </a:moveTo>
                    <a:cubicBezTo>
                      <a:pt x="349" y="383"/>
                      <a:pt x="334" y="399"/>
                      <a:pt x="334" y="419"/>
                    </a:cubicBezTo>
                    <a:cubicBezTo>
                      <a:pt x="334" y="438"/>
                      <a:pt x="349" y="454"/>
                      <a:pt x="369" y="454"/>
                    </a:cubicBezTo>
                    <a:cubicBezTo>
                      <a:pt x="389" y="454"/>
                      <a:pt x="404" y="438"/>
                      <a:pt x="404" y="419"/>
                    </a:cubicBezTo>
                    <a:cubicBezTo>
                      <a:pt x="404" y="399"/>
                      <a:pt x="389" y="383"/>
                      <a:pt x="369" y="383"/>
                    </a:cubicBezTo>
                    <a:close/>
                    <a:moveTo>
                      <a:pt x="635" y="145"/>
                    </a:moveTo>
                    <a:cubicBezTo>
                      <a:pt x="337" y="145"/>
                      <a:pt x="337" y="145"/>
                      <a:pt x="337" y="145"/>
                    </a:cubicBezTo>
                    <a:cubicBezTo>
                      <a:pt x="334" y="145"/>
                      <a:pt x="331" y="148"/>
                      <a:pt x="331" y="151"/>
                    </a:cubicBezTo>
                    <a:cubicBezTo>
                      <a:pt x="331" y="152"/>
                      <a:pt x="331" y="152"/>
                      <a:pt x="331" y="152"/>
                    </a:cubicBezTo>
                    <a:cubicBezTo>
                      <a:pt x="334" y="170"/>
                      <a:pt x="334" y="170"/>
                      <a:pt x="334" y="170"/>
                    </a:cubicBezTo>
                    <a:cubicBezTo>
                      <a:pt x="334" y="170"/>
                      <a:pt x="335" y="171"/>
                      <a:pt x="336" y="171"/>
                    </a:cubicBezTo>
                    <a:cubicBezTo>
                      <a:pt x="403" y="171"/>
                      <a:pt x="403" y="171"/>
                      <a:pt x="403" y="171"/>
                    </a:cubicBezTo>
                    <a:cubicBezTo>
                      <a:pt x="404" y="171"/>
                      <a:pt x="405" y="172"/>
                      <a:pt x="405" y="174"/>
                    </a:cubicBezTo>
                    <a:cubicBezTo>
                      <a:pt x="405" y="193"/>
                      <a:pt x="405" y="193"/>
                      <a:pt x="405" y="193"/>
                    </a:cubicBezTo>
                    <a:cubicBezTo>
                      <a:pt x="405" y="194"/>
                      <a:pt x="404" y="195"/>
                      <a:pt x="403" y="195"/>
                    </a:cubicBezTo>
                    <a:cubicBezTo>
                      <a:pt x="341" y="195"/>
                      <a:pt x="341" y="195"/>
                      <a:pt x="341" y="195"/>
                    </a:cubicBezTo>
                    <a:cubicBezTo>
                      <a:pt x="340" y="195"/>
                      <a:pt x="339" y="196"/>
                      <a:pt x="339" y="198"/>
                    </a:cubicBezTo>
                    <a:cubicBezTo>
                      <a:pt x="343" y="221"/>
                      <a:pt x="343" y="221"/>
                      <a:pt x="343" y="221"/>
                    </a:cubicBezTo>
                    <a:cubicBezTo>
                      <a:pt x="343" y="222"/>
                      <a:pt x="344" y="223"/>
                      <a:pt x="346" y="223"/>
                    </a:cubicBezTo>
                    <a:cubicBezTo>
                      <a:pt x="403" y="223"/>
                      <a:pt x="403" y="223"/>
                      <a:pt x="403" y="223"/>
                    </a:cubicBezTo>
                    <a:cubicBezTo>
                      <a:pt x="404" y="223"/>
                      <a:pt x="405" y="224"/>
                      <a:pt x="405" y="225"/>
                    </a:cubicBezTo>
                    <a:cubicBezTo>
                      <a:pt x="405" y="245"/>
                      <a:pt x="405" y="245"/>
                      <a:pt x="405" y="245"/>
                    </a:cubicBezTo>
                    <a:cubicBezTo>
                      <a:pt x="405" y="246"/>
                      <a:pt x="404" y="247"/>
                      <a:pt x="403" y="247"/>
                    </a:cubicBezTo>
                    <a:cubicBezTo>
                      <a:pt x="350" y="247"/>
                      <a:pt x="350" y="247"/>
                      <a:pt x="350" y="247"/>
                    </a:cubicBezTo>
                    <a:cubicBezTo>
                      <a:pt x="349" y="247"/>
                      <a:pt x="348" y="249"/>
                      <a:pt x="348" y="249"/>
                    </a:cubicBezTo>
                    <a:cubicBezTo>
                      <a:pt x="353" y="273"/>
                      <a:pt x="353" y="273"/>
                      <a:pt x="353" y="273"/>
                    </a:cubicBezTo>
                    <a:cubicBezTo>
                      <a:pt x="353" y="274"/>
                      <a:pt x="354" y="275"/>
                      <a:pt x="355" y="275"/>
                    </a:cubicBezTo>
                    <a:cubicBezTo>
                      <a:pt x="403" y="275"/>
                      <a:pt x="403" y="275"/>
                      <a:pt x="403" y="275"/>
                    </a:cubicBezTo>
                    <a:cubicBezTo>
                      <a:pt x="404" y="275"/>
                      <a:pt x="405" y="276"/>
                      <a:pt x="405" y="277"/>
                    </a:cubicBezTo>
                    <a:cubicBezTo>
                      <a:pt x="405" y="297"/>
                      <a:pt x="405" y="297"/>
                      <a:pt x="405" y="297"/>
                    </a:cubicBezTo>
                    <a:cubicBezTo>
                      <a:pt x="405" y="298"/>
                      <a:pt x="404" y="299"/>
                      <a:pt x="403" y="299"/>
                    </a:cubicBezTo>
                    <a:cubicBezTo>
                      <a:pt x="360" y="299"/>
                      <a:pt x="360" y="299"/>
                      <a:pt x="360" y="299"/>
                    </a:cubicBezTo>
                    <a:cubicBezTo>
                      <a:pt x="358" y="299"/>
                      <a:pt x="357" y="300"/>
                      <a:pt x="357" y="302"/>
                    </a:cubicBezTo>
                    <a:cubicBezTo>
                      <a:pt x="360" y="320"/>
                      <a:pt x="360" y="320"/>
                      <a:pt x="360" y="320"/>
                    </a:cubicBezTo>
                    <a:cubicBezTo>
                      <a:pt x="360" y="321"/>
                      <a:pt x="360" y="321"/>
                      <a:pt x="360" y="321"/>
                    </a:cubicBezTo>
                    <a:cubicBezTo>
                      <a:pt x="360" y="324"/>
                      <a:pt x="364" y="327"/>
                      <a:pt x="367" y="327"/>
                    </a:cubicBezTo>
                    <a:cubicBezTo>
                      <a:pt x="609" y="327"/>
                      <a:pt x="609" y="327"/>
                      <a:pt x="609" y="327"/>
                    </a:cubicBezTo>
                    <a:cubicBezTo>
                      <a:pt x="612" y="327"/>
                      <a:pt x="615" y="324"/>
                      <a:pt x="615" y="321"/>
                    </a:cubicBezTo>
                    <a:cubicBezTo>
                      <a:pt x="618" y="302"/>
                      <a:pt x="618" y="302"/>
                      <a:pt x="618" y="302"/>
                    </a:cubicBezTo>
                    <a:cubicBezTo>
                      <a:pt x="618" y="300"/>
                      <a:pt x="618" y="299"/>
                      <a:pt x="616" y="299"/>
                    </a:cubicBezTo>
                    <a:cubicBezTo>
                      <a:pt x="572" y="299"/>
                      <a:pt x="572" y="299"/>
                      <a:pt x="572" y="299"/>
                    </a:cubicBezTo>
                    <a:cubicBezTo>
                      <a:pt x="571" y="299"/>
                      <a:pt x="570" y="298"/>
                      <a:pt x="570" y="297"/>
                    </a:cubicBezTo>
                    <a:cubicBezTo>
                      <a:pt x="570" y="277"/>
                      <a:pt x="570" y="277"/>
                      <a:pt x="570" y="277"/>
                    </a:cubicBezTo>
                    <a:cubicBezTo>
                      <a:pt x="570" y="276"/>
                      <a:pt x="571" y="275"/>
                      <a:pt x="572" y="275"/>
                    </a:cubicBezTo>
                    <a:cubicBezTo>
                      <a:pt x="621" y="275"/>
                      <a:pt x="621" y="275"/>
                      <a:pt x="621" y="275"/>
                    </a:cubicBezTo>
                    <a:cubicBezTo>
                      <a:pt x="622" y="275"/>
                      <a:pt x="623" y="274"/>
                      <a:pt x="623" y="273"/>
                    </a:cubicBezTo>
                    <a:cubicBezTo>
                      <a:pt x="626" y="249"/>
                      <a:pt x="626" y="249"/>
                      <a:pt x="626" y="249"/>
                    </a:cubicBezTo>
                    <a:cubicBezTo>
                      <a:pt x="627" y="249"/>
                      <a:pt x="625" y="247"/>
                      <a:pt x="624" y="247"/>
                    </a:cubicBezTo>
                    <a:cubicBezTo>
                      <a:pt x="572" y="247"/>
                      <a:pt x="572" y="247"/>
                      <a:pt x="572" y="247"/>
                    </a:cubicBezTo>
                    <a:cubicBezTo>
                      <a:pt x="571" y="247"/>
                      <a:pt x="570" y="246"/>
                      <a:pt x="570" y="245"/>
                    </a:cubicBezTo>
                    <a:cubicBezTo>
                      <a:pt x="570" y="225"/>
                      <a:pt x="570" y="225"/>
                      <a:pt x="570" y="225"/>
                    </a:cubicBezTo>
                    <a:cubicBezTo>
                      <a:pt x="570" y="224"/>
                      <a:pt x="571" y="223"/>
                      <a:pt x="572" y="223"/>
                    </a:cubicBezTo>
                    <a:cubicBezTo>
                      <a:pt x="629" y="223"/>
                      <a:pt x="629" y="223"/>
                      <a:pt x="629" y="223"/>
                    </a:cubicBezTo>
                    <a:cubicBezTo>
                      <a:pt x="630" y="223"/>
                      <a:pt x="631" y="222"/>
                      <a:pt x="631" y="221"/>
                    </a:cubicBezTo>
                    <a:cubicBezTo>
                      <a:pt x="634" y="198"/>
                      <a:pt x="634" y="198"/>
                      <a:pt x="634" y="198"/>
                    </a:cubicBezTo>
                    <a:cubicBezTo>
                      <a:pt x="635" y="196"/>
                      <a:pt x="633" y="195"/>
                      <a:pt x="632" y="195"/>
                    </a:cubicBezTo>
                    <a:cubicBezTo>
                      <a:pt x="572" y="195"/>
                      <a:pt x="572" y="195"/>
                      <a:pt x="572" y="195"/>
                    </a:cubicBezTo>
                    <a:cubicBezTo>
                      <a:pt x="571" y="195"/>
                      <a:pt x="570" y="194"/>
                      <a:pt x="570" y="193"/>
                    </a:cubicBezTo>
                    <a:cubicBezTo>
                      <a:pt x="570" y="174"/>
                      <a:pt x="570" y="174"/>
                      <a:pt x="570" y="174"/>
                    </a:cubicBezTo>
                    <a:cubicBezTo>
                      <a:pt x="570" y="172"/>
                      <a:pt x="571" y="171"/>
                      <a:pt x="572" y="171"/>
                    </a:cubicBezTo>
                    <a:cubicBezTo>
                      <a:pt x="637" y="171"/>
                      <a:pt x="637" y="171"/>
                      <a:pt x="637" y="171"/>
                    </a:cubicBezTo>
                    <a:cubicBezTo>
                      <a:pt x="637" y="171"/>
                      <a:pt x="638" y="170"/>
                      <a:pt x="638" y="170"/>
                    </a:cubicBezTo>
                    <a:cubicBezTo>
                      <a:pt x="641" y="152"/>
                      <a:pt x="641" y="152"/>
                      <a:pt x="641" y="152"/>
                    </a:cubicBezTo>
                    <a:cubicBezTo>
                      <a:pt x="641" y="152"/>
                      <a:pt x="641" y="152"/>
                      <a:pt x="641" y="151"/>
                    </a:cubicBezTo>
                    <a:cubicBezTo>
                      <a:pt x="641" y="148"/>
                      <a:pt x="638" y="145"/>
                      <a:pt x="635" y="145"/>
                    </a:cubicBezTo>
                    <a:close/>
                    <a:moveTo>
                      <a:pt x="478" y="297"/>
                    </a:moveTo>
                    <a:cubicBezTo>
                      <a:pt x="478" y="298"/>
                      <a:pt x="477" y="299"/>
                      <a:pt x="476" y="299"/>
                    </a:cubicBezTo>
                    <a:cubicBezTo>
                      <a:pt x="426" y="299"/>
                      <a:pt x="426" y="299"/>
                      <a:pt x="426" y="299"/>
                    </a:cubicBezTo>
                    <a:cubicBezTo>
                      <a:pt x="425" y="299"/>
                      <a:pt x="424" y="298"/>
                      <a:pt x="424" y="297"/>
                    </a:cubicBezTo>
                    <a:cubicBezTo>
                      <a:pt x="424" y="277"/>
                      <a:pt x="424" y="277"/>
                      <a:pt x="424" y="277"/>
                    </a:cubicBezTo>
                    <a:cubicBezTo>
                      <a:pt x="424" y="276"/>
                      <a:pt x="425" y="275"/>
                      <a:pt x="426" y="275"/>
                    </a:cubicBezTo>
                    <a:cubicBezTo>
                      <a:pt x="476" y="275"/>
                      <a:pt x="476" y="275"/>
                      <a:pt x="476" y="275"/>
                    </a:cubicBezTo>
                    <a:cubicBezTo>
                      <a:pt x="477" y="275"/>
                      <a:pt x="478" y="276"/>
                      <a:pt x="478" y="277"/>
                    </a:cubicBezTo>
                    <a:cubicBezTo>
                      <a:pt x="478" y="297"/>
                      <a:pt x="478" y="297"/>
                      <a:pt x="478" y="297"/>
                    </a:cubicBezTo>
                    <a:close/>
                    <a:moveTo>
                      <a:pt x="478" y="245"/>
                    </a:moveTo>
                    <a:cubicBezTo>
                      <a:pt x="478" y="246"/>
                      <a:pt x="477" y="247"/>
                      <a:pt x="476" y="247"/>
                    </a:cubicBezTo>
                    <a:cubicBezTo>
                      <a:pt x="426" y="247"/>
                      <a:pt x="426" y="247"/>
                      <a:pt x="426" y="247"/>
                    </a:cubicBezTo>
                    <a:cubicBezTo>
                      <a:pt x="425" y="247"/>
                      <a:pt x="424" y="246"/>
                      <a:pt x="424" y="245"/>
                    </a:cubicBezTo>
                    <a:cubicBezTo>
                      <a:pt x="424" y="225"/>
                      <a:pt x="424" y="225"/>
                      <a:pt x="424" y="225"/>
                    </a:cubicBezTo>
                    <a:cubicBezTo>
                      <a:pt x="424" y="224"/>
                      <a:pt x="425" y="223"/>
                      <a:pt x="426" y="223"/>
                    </a:cubicBezTo>
                    <a:cubicBezTo>
                      <a:pt x="476" y="223"/>
                      <a:pt x="476" y="223"/>
                      <a:pt x="476" y="223"/>
                    </a:cubicBezTo>
                    <a:cubicBezTo>
                      <a:pt x="477" y="223"/>
                      <a:pt x="478" y="224"/>
                      <a:pt x="478" y="225"/>
                    </a:cubicBezTo>
                    <a:cubicBezTo>
                      <a:pt x="478" y="245"/>
                      <a:pt x="478" y="245"/>
                      <a:pt x="478" y="245"/>
                    </a:cubicBezTo>
                    <a:close/>
                    <a:moveTo>
                      <a:pt x="478" y="193"/>
                    </a:moveTo>
                    <a:cubicBezTo>
                      <a:pt x="478" y="194"/>
                      <a:pt x="477" y="195"/>
                      <a:pt x="476" y="195"/>
                    </a:cubicBezTo>
                    <a:cubicBezTo>
                      <a:pt x="426" y="195"/>
                      <a:pt x="426" y="195"/>
                      <a:pt x="426" y="195"/>
                    </a:cubicBezTo>
                    <a:cubicBezTo>
                      <a:pt x="425" y="195"/>
                      <a:pt x="424" y="194"/>
                      <a:pt x="424" y="193"/>
                    </a:cubicBezTo>
                    <a:cubicBezTo>
                      <a:pt x="424" y="174"/>
                      <a:pt x="424" y="174"/>
                      <a:pt x="424" y="174"/>
                    </a:cubicBezTo>
                    <a:cubicBezTo>
                      <a:pt x="424" y="172"/>
                      <a:pt x="425" y="171"/>
                      <a:pt x="426" y="171"/>
                    </a:cubicBezTo>
                    <a:cubicBezTo>
                      <a:pt x="476" y="171"/>
                      <a:pt x="476" y="171"/>
                      <a:pt x="476" y="171"/>
                    </a:cubicBezTo>
                    <a:cubicBezTo>
                      <a:pt x="477" y="171"/>
                      <a:pt x="478" y="172"/>
                      <a:pt x="478" y="174"/>
                    </a:cubicBezTo>
                    <a:cubicBezTo>
                      <a:pt x="478" y="193"/>
                      <a:pt x="478" y="193"/>
                      <a:pt x="478" y="193"/>
                    </a:cubicBezTo>
                    <a:close/>
                    <a:moveTo>
                      <a:pt x="551" y="297"/>
                    </a:moveTo>
                    <a:cubicBezTo>
                      <a:pt x="551" y="298"/>
                      <a:pt x="551" y="299"/>
                      <a:pt x="549" y="299"/>
                    </a:cubicBezTo>
                    <a:cubicBezTo>
                      <a:pt x="499" y="299"/>
                      <a:pt x="499" y="299"/>
                      <a:pt x="499" y="299"/>
                    </a:cubicBezTo>
                    <a:cubicBezTo>
                      <a:pt x="498" y="299"/>
                      <a:pt x="497" y="298"/>
                      <a:pt x="497" y="297"/>
                    </a:cubicBezTo>
                    <a:cubicBezTo>
                      <a:pt x="497" y="277"/>
                      <a:pt x="497" y="277"/>
                      <a:pt x="497" y="277"/>
                    </a:cubicBezTo>
                    <a:cubicBezTo>
                      <a:pt x="497" y="276"/>
                      <a:pt x="498" y="275"/>
                      <a:pt x="499" y="275"/>
                    </a:cubicBezTo>
                    <a:cubicBezTo>
                      <a:pt x="549" y="275"/>
                      <a:pt x="549" y="275"/>
                      <a:pt x="549" y="275"/>
                    </a:cubicBezTo>
                    <a:cubicBezTo>
                      <a:pt x="551" y="275"/>
                      <a:pt x="551" y="276"/>
                      <a:pt x="551" y="277"/>
                    </a:cubicBezTo>
                    <a:cubicBezTo>
                      <a:pt x="551" y="297"/>
                      <a:pt x="551" y="297"/>
                      <a:pt x="551" y="297"/>
                    </a:cubicBezTo>
                    <a:close/>
                    <a:moveTo>
                      <a:pt x="551" y="245"/>
                    </a:moveTo>
                    <a:cubicBezTo>
                      <a:pt x="551" y="246"/>
                      <a:pt x="551" y="247"/>
                      <a:pt x="549" y="247"/>
                    </a:cubicBezTo>
                    <a:cubicBezTo>
                      <a:pt x="499" y="247"/>
                      <a:pt x="499" y="247"/>
                      <a:pt x="499" y="247"/>
                    </a:cubicBezTo>
                    <a:cubicBezTo>
                      <a:pt x="498" y="247"/>
                      <a:pt x="497" y="246"/>
                      <a:pt x="497" y="245"/>
                    </a:cubicBezTo>
                    <a:cubicBezTo>
                      <a:pt x="497" y="225"/>
                      <a:pt x="497" y="225"/>
                      <a:pt x="497" y="225"/>
                    </a:cubicBezTo>
                    <a:cubicBezTo>
                      <a:pt x="497" y="224"/>
                      <a:pt x="498" y="223"/>
                      <a:pt x="499" y="223"/>
                    </a:cubicBezTo>
                    <a:cubicBezTo>
                      <a:pt x="549" y="223"/>
                      <a:pt x="549" y="223"/>
                      <a:pt x="549" y="223"/>
                    </a:cubicBezTo>
                    <a:cubicBezTo>
                      <a:pt x="551" y="223"/>
                      <a:pt x="551" y="224"/>
                      <a:pt x="551" y="225"/>
                    </a:cubicBezTo>
                    <a:cubicBezTo>
                      <a:pt x="551" y="245"/>
                      <a:pt x="551" y="245"/>
                      <a:pt x="551" y="245"/>
                    </a:cubicBezTo>
                    <a:close/>
                    <a:moveTo>
                      <a:pt x="551" y="193"/>
                    </a:moveTo>
                    <a:cubicBezTo>
                      <a:pt x="551" y="194"/>
                      <a:pt x="551" y="195"/>
                      <a:pt x="549" y="195"/>
                    </a:cubicBezTo>
                    <a:cubicBezTo>
                      <a:pt x="499" y="195"/>
                      <a:pt x="499" y="195"/>
                      <a:pt x="499" y="195"/>
                    </a:cubicBezTo>
                    <a:cubicBezTo>
                      <a:pt x="498" y="195"/>
                      <a:pt x="497" y="194"/>
                      <a:pt x="497" y="193"/>
                    </a:cubicBezTo>
                    <a:cubicBezTo>
                      <a:pt x="497" y="174"/>
                      <a:pt x="497" y="174"/>
                      <a:pt x="497" y="174"/>
                    </a:cubicBezTo>
                    <a:cubicBezTo>
                      <a:pt x="497" y="172"/>
                      <a:pt x="498" y="171"/>
                      <a:pt x="499" y="171"/>
                    </a:cubicBezTo>
                    <a:cubicBezTo>
                      <a:pt x="549" y="171"/>
                      <a:pt x="549" y="171"/>
                      <a:pt x="549" y="171"/>
                    </a:cubicBezTo>
                    <a:cubicBezTo>
                      <a:pt x="551" y="171"/>
                      <a:pt x="551" y="172"/>
                      <a:pt x="551" y="174"/>
                    </a:cubicBezTo>
                    <a:cubicBezTo>
                      <a:pt x="551" y="193"/>
                      <a:pt x="551" y="193"/>
                      <a:pt x="551" y="193"/>
                    </a:cubicBezTo>
                    <a:close/>
                    <a:moveTo>
                      <a:pt x="580" y="343"/>
                    </a:moveTo>
                    <a:cubicBezTo>
                      <a:pt x="580" y="343"/>
                      <a:pt x="580" y="343"/>
                      <a:pt x="351" y="343"/>
                    </a:cubicBezTo>
                    <a:cubicBezTo>
                      <a:pt x="351" y="343"/>
                      <a:pt x="351" y="343"/>
                      <a:pt x="311" y="115"/>
                    </a:cubicBezTo>
                    <a:cubicBezTo>
                      <a:pt x="311" y="109"/>
                      <a:pt x="306" y="106"/>
                      <a:pt x="301" y="106"/>
                    </a:cubicBezTo>
                    <a:cubicBezTo>
                      <a:pt x="301" y="106"/>
                      <a:pt x="301" y="106"/>
                      <a:pt x="249" y="106"/>
                    </a:cubicBezTo>
                    <a:cubicBezTo>
                      <a:pt x="243" y="106"/>
                      <a:pt x="239" y="110"/>
                      <a:pt x="239" y="116"/>
                    </a:cubicBezTo>
                    <a:cubicBezTo>
                      <a:pt x="239" y="122"/>
                      <a:pt x="243" y="126"/>
                      <a:pt x="249" y="126"/>
                    </a:cubicBezTo>
                    <a:cubicBezTo>
                      <a:pt x="249" y="126"/>
                      <a:pt x="249" y="126"/>
                      <a:pt x="293" y="126"/>
                    </a:cubicBezTo>
                    <a:cubicBezTo>
                      <a:pt x="293" y="126"/>
                      <a:pt x="293" y="126"/>
                      <a:pt x="333" y="355"/>
                    </a:cubicBezTo>
                    <a:cubicBezTo>
                      <a:pt x="333" y="360"/>
                      <a:pt x="338" y="364"/>
                      <a:pt x="342" y="364"/>
                    </a:cubicBezTo>
                    <a:cubicBezTo>
                      <a:pt x="342" y="364"/>
                      <a:pt x="342" y="364"/>
                      <a:pt x="580" y="364"/>
                    </a:cubicBezTo>
                    <a:cubicBezTo>
                      <a:pt x="585" y="364"/>
                      <a:pt x="590" y="359"/>
                      <a:pt x="590" y="353"/>
                    </a:cubicBezTo>
                    <a:cubicBezTo>
                      <a:pt x="590" y="348"/>
                      <a:pt x="585" y="343"/>
                      <a:pt x="580" y="343"/>
                    </a:cubicBezTo>
                    <a:close/>
                    <a:moveTo>
                      <a:pt x="552" y="383"/>
                    </a:moveTo>
                    <a:cubicBezTo>
                      <a:pt x="532" y="383"/>
                      <a:pt x="516" y="399"/>
                      <a:pt x="516" y="419"/>
                    </a:cubicBezTo>
                    <a:cubicBezTo>
                      <a:pt x="516" y="438"/>
                      <a:pt x="532" y="454"/>
                      <a:pt x="552" y="454"/>
                    </a:cubicBezTo>
                    <a:cubicBezTo>
                      <a:pt x="572" y="454"/>
                      <a:pt x="588" y="438"/>
                      <a:pt x="588" y="419"/>
                    </a:cubicBezTo>
                    <a:cubicBezTo>
                      <a:pt x="588" y="399"/>
                      <a:pt x="572" y="383"/>
                      <a:pt x="552" y="383"/>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20" name="Group 119">
            <a:extLst>
              <a:ext uri="{FF2B5EF4-FFF2-40B4-BE49-F238E27FC236}">
                <a16:creationId xmlns:a16="http://schemas.microsoft.com/office/drawing/2014/main" id="{E5EFD114-791C-4523-A89D-4F2339A1E565}"/>
              </a:ext>
            </a:extLst>
          </p:cNvPr>
          <p:cNvGrpSpPr/>
          <p:nvPr/>
        </p:nvGrpSpPr>
        <p:grpSpPr>
          <a:xfrm>
            <a:off x="4163446" y="1591357"/>
            <a:ext cx="1589688" cy="2208408"/>
            <a:chOff x="4157132" y="1580547"/>
            <a:chExt cx="1589688" cy="2208408"/>
          </a:xfrm>
        </p:grpSpPr>
        <p:grpSp>
          <p:nvGrpSpPr>
            <p:cNvPr id="106" name="Group 105">
              <a:extLst>
                <a:ext uri="{FF2B5EF4-FFF2-40B4-BE49-F238E27FC236}">
                  <a16:creationId xmlns:a16="http://schemas.microsoft.com/office/drawing/2014/main" id="{9E368FA5-B41E-45C8-A5AD-9F5193D464F4}"/>
                </a:ext>
              </a:extLst>
            </p:cNvPr>
            <p:cNvGrpSpPr>
              <a:grpSpLocks/>
            </p:cNvGrpSpPr>
            <p:nvPr/>
          </p:nvGrpSpPr>
          <p:grpSpPr>
            <a:xfrm>
              <a:off x="4261922" y="1580547"/>
              <a:ext cx="1380106" cy="1096604"/>
              <a:chOff x="2903302" y="1906042"/>
              <a:chExt cx="1840142" cy="1462139"/>
            </a:xfrm>
          </p:grpSpPr>
          <p:grpSp>
            <p:nvGrpSpPr>
              <p:cNvPr id="107" name="Group 106">
                <a:extLst>
                  <a:ext uri="{FF2B5EF4-FFF2-40B4-BE49-F238E27FC236}">
                    <a16:creationId xmlns:a16="http://schemas.microsoft.com/office/drawing/2014/main" id="{41E5CC57-C5B6-4172-97B9-AA74966D25F0}"/>
                  </a:ext>
                </a:extLst>
              </p:cNvPr>
              <p:cNvGrpSpPr/>
              <p:nvPr/>
            </p:nvGrpSpPr>
            <p:grpSpPr>
              <a:xfrm>
                <a:off x="2903302" y="1906042"/>
                <a:ext cx="1840142" cy="1462138"/>
                <a:chOff x="3031532" y="1906042"/>
                <a:chExt cx="1840142" cy="1462138"/>
              </a:xfrm>
            </p:grpSpPr>
            <p:grpSp>
              <p:nvGrpSpPr>
                <p:cNvPr id="109" name="Group 108">
                  <a:extLst>
                    <a:ext uri="{FF2B5EF4-FFF2-40B4-BE49-F238E27FC236}">
                      <a16:creationId xmlns:a16="http://schemas.microsoft.com/office/drawing/2014/main" id="{F22D7A6C-511D-4165-A51C-E5FAC5ED667B}"/>
                    </a:ext>
                  </a:extLst>
                </p:cNvPr>
                <p:cNvGrpSpPr/>
                <p:nvPr/>
              </p:nvGrpSpPr>
              <p:grpSpPr>
                <a:xfrm>
                  <a:off x="3426977" y="1906042"/>
                  <a:ext cx="1049253" cy="1206903"/>
                  <a:chOff x="3555292" y="1733086"/>
                  <a:chExt cx="1049253" cy="1206903"/>
                </a:xfrm>
              </p:grpSpPr>
              <p:sp>
                <p:nvSpPr>
                  <p:cNvPr id="111" name="Arc 110">
                    <a:extLst>
                      <a:ext uri="{FF2B5EF4-FFF2-40B4-BE49-F238E27FC236}">
                        <a16:creationId xmlns:a16="http://schemas.microsoft.com/office/drawing/2014/main" id="{553F5D3B-78A9-4B98-9E6E-5090E37697B4}"/>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112" name="Arc 111">
                    <a:extLst>
                      <a:ext uri="{FF2B5EF4-FFF2-40B4-BE49-F238E27FC236}">
                        <a16:creationId xmlns:a16="http://schemas.microsoft.com/office/drawing/2014/main" id="{CBDACF3A-B304-4016-9D0C-58DDFA41498D}"/>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110" name="Straight Connector 109">
                  <a:extLst>
                    <a:ext uri="{FF2B5EF4-FFF2-40B4-BE49-F238E27FC236}">
                      <a16:creationId xmlns:a16="http://schemas.microsoft.com/office/drawing/2014/main" id="{E4575FAC-B1AE-4738-842C-07E2D0ABE064}"/>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108" name="Straight Connector 107">
                <a:extLst>
                  <a:ext uri="{FF2B5EF4-FFF2-40B4-BE49-F238E27FC236}">
                    <a16:creationId xmlns:a16="http://schemas.microsoft.com/office/drawing/2014/main" id="{757A8290-E4D0-4E59-8AEF-D5BC86BB796C}"/>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117" name="ee4pContent1">
              <a:extLst>
                <a:ext uri="{FF2B5EF4-FFF2-40B4-BE49-F238E27FC236}">
                  <a16:creationId xmlns:a16="http://schemas.microsoft.com/office/drawing/2014/main" id="{17397BDD-DA7C-44ED-B1DB-2435417A8B77}"/>
                </a:ext>
              </a:extLst>
            </p:cNvPr>
            <p:cNvSpPr txBox="1"/>
            <p:nvPr/>
          </p:nvSpPr>
          <p:spPr>
            <a:xfrm>
              <a:off x="4157132" y="2790076"/>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Patients will have access to </a:t>
              </a:r>
              <a:r>
                <a:rPr lang="en-US" sz="1400" b="1" dirty="0">
                  <a:solidFill>
                    <a:srgbClr val="164484"/>
                  </a:solidFill>
                  <a:latin typeface="+mj-lt"/>
                </a:rPr>
                <a:t>telehealth services</a:t>
              </a:r>
              <a:r>
                <a:rPr lang="en-US" sz="1400" dirty="0">
                  <a:solidFill>
                    <a:srgbClr val="000000"/>
                  </a:solidFill>
                  <a:latin typeface="+mj-lt"/>
                </a:rPr>
                <a:t> to improve their health</a:t>
              </a:r>
            </a:p>
          </p:txBody>
        </p:sp>
        <p:grpSp>
          <p:nvGrpSpPr>
            <p:cNvPr id="184" name="Group 183">
              <a:extLst>
                <a:ext uri="{FF2B5EF4-FFF2-40B4-BE49-F238E27FC236}">
                  <a16:creationId xmlns:a16="http://schemas.microsoft.com/office/drawing/2014/main" id="{012EB6B0-8C08-402B-A3F0-6D9796865C30}"/>
                </a:ext>
              </a:extLst>
            </p:cNvPr>
            <p:cNvGrpSpPr>
              <a:grpSpLocks noChangeAspect="1"/>
            </p:cNvGrpSpPr>
            <p:nvPr/>
          </p:nvGrpSpPr>
          <p:grpSpPr>
            <a:xfrm>
              <a:off x="4654116" y="1750653"/>
              <a:ext cx="595719" cy="596271"/>
              <a:chOff x="5273802" y="2606040"/>
              <a:chExt cx="1644396" cy="1645920"/>
            </a:xfrm>
          </p:grpSpPr>
          <p:sp>
            <p:nvSpPr>
              <p:cNvPr id="185" name="AutoShape 18">
                <a:extLst>
                  <a:ext uri="{FF2B5EF4-FFF2-40B4-BE49-F238E27FC236}">
                    <a16:creationId xmlns:a16="http://schemas.microsoft.com/office/drawing/2014/main" id="{9D328D12-8EA6-4816-A733-6C5C99EC3402}"/>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6" name="Group 185">
                <a:extLst>
                  <a:ext uri="{FF2B5EF4-FFF2-40B4-BE49-F238E27FC236}">
                    <a16:creationId xmlns:a16="http://schemas.microsoft.com/office/drawing/2014/main" id="{7F97391E-5494-4D75-A640-E3D1149D0692}"/>
                  </a:ext>
                </a:extLst>
              </p:cNvPr>
              <p:cNvGrpSpPr/>
              <p:nvPr/>
            </p:nvGrpSpPr>
            <p:grpSpPr>
              <a:xfrm>
                <a:off x="5560695" y="2747391"/>
                <a:ext cx="1069086" cy="1333881"/>
                <a:chOff x="5560695" y="2747391"/>
                <a:chExt cx="1069086" cy="1333881"/>
              </a:xfrm>
            </p:grpSpPr>
            <p:sp>
              <p:nvSpPr>
                <p:cNvPr id="187" name="Freeform 20">
                  <a:extLst>
                    <a:ext uri="{FF2B5EF4-FFF2-40B4-BE49-F238E27FC236}">
                      <a16:creationId xmlns:a16="http://schemas.microsoft.com/office/drawing/2014/main" id="{54BB052C-B815-4DE5-8C98-09A8C0BC833C}"/>
                    </a:ext>
                  </a:extLst>
                </p:cNvPr>
                <p:cNvSpPr>
                  <a:spLocks noEditPoints="1"/>
                </p:cNvSpPr>
                <p:nvPr/>
              </p:nvSpPr>
              <p:spPr bwMode="auto">
                <a:xfrm>
                  <a:off x="5560695" y="2747391"/>
                  <a:ext cx="1069086" cy="1333881"/>
                </a:xfrm>
                <a:custGeom>
                  <a:avLst/>
                  <a:gdLst>
                    <a:gd name="T0" fmla="*/ 1413 w 1498"/>
                    <a:gd name="T1" fmla="*/ 1743 h 1867"/>
                    <a:gd name="T2" fmla="*/ 1392 w 1498"/>
                    <a:gd name="T3" fmla="*/ 1693 h 1867"/>
                    <a:gd name="T4" fmla="*/ 85 w 1498"/>
                    <a:gd name="T5" fmla="*/ 1714 h 1867"/>
                    <a:gd name="T6" fmla="*/ 22 w 1498"/>
                    <a:gd name="T7" fmla="*/ 1743 h 1867"/>
                    <a:gd name="T8" fmla="*/ 0 w 1498"/>
                    <a:gd name="T9" fmla="*/ 1846 h 1867"/>
                    <a:gd name="T10" fmla="*/ 1476 w 1498"/>
                    <a:gd name="T11" fmla="*/ 1867 h 1867"/>
                    <a:gd name="T12" fmla="*/ 1498 w 1498"/>
                    <a:gd name="T13" fmla="*/ 1765 h 1867"/>
                    <a:gd name="T14" fmla="*/ 516 w 1498"/>
                    <a:gd name="T15" fmla="*/ 179 h 1867"/>
                    <a:gd name="T16" fmla="*/ 526 w 1498"/>
                    <a:gd name="T17" fmla="*/ 654 h 1867"/>
                    <a:gd name="T18" fmla="*/ 978 w 1498"/>
                    <a:gd name="T19" fmla="*/ 645 h 1867"/>
                    <a:gd name="T20" fmla="*/ 968 w 1498"/>
                    <a:gd name="T21" fmla="*/ 169 h 1867"/>
                    <a:gd name="T22" fmla="*/ 516 w 1498"/>
                    <a:gd name="T23" fmla="*/ 179 h 1867"/>
                    <a:gd name="T24" fmla="*/ 794 w 1498"/>
                    <a:gd name="T25" fmla="*/ 455 h 1867"/>
                    <a:gd name="T26" fmla="*/ 705 w 1498"/>
                    <a:gd name="T27" fmla="*/ 557 h 1867"/>
                    <a:gd name="T28" fmla="*/ 603 w 1498"/>
                    <a:gd name="T29" fmla="*/ 455 h 1867"/>
                    <a:gd name="T30" fmla="*/ 705 w 1498"/>
                    <a:gd name="T31" fmla="*/ 366 h 1867"/>
                    <a:gd name="T32" fmla="*/ 794 w 1498"/>
                    <a:gd name="T33" fmla="*/ 263 h 1867"/>
                    <a:gd name="T34" fmla="*/ 897 w 1498"/>
                    <a:gd name="T35" fmla="*/ 366 h 1867"/>
                    <a:gd name="T36" fmla="*/ 1390 w 1498"/>
                    <a:gd name="T37" fmla="*/ 1650 h 1867"/>
                    <a:gd name="T38" fmla="*/ 1346 w 1498"/>
                    <a:gd name="T39" fmla="*/ 1303 h 1867"/>
                    <a:gd name="T40" fmla="*/ 152 w 1498"/>
                    <a:gd name="T41" fmla="*/ 1650 h 1867"/>
                    <a:gd name="T42" fmla="*/ 108 w 1498"/>
                    <a:gd name="T43" fmla="*/ 1281 h 1867"/>
                    <a:gd name="T44" fmla="*/ 1368 w 1498"/>
                    <a:gd name="T45" fmla="*/ 1259 h 1867"/>
                    <a:gd name="T46" fmla="*/ 1390 w 1498"/>
                    <a:gd name="T47" fmla="*/ 1650 h 1867"/>
                    <a:gd name="T48" fmla="*/ 1281 w 1498"/>
                    <a:gd name="T49" fmla="*/ 71 h 1867"/>
                    <a:gd name="T50" fmla="*/ 1221 w 1498"/>
                    <a:gd name="T51" fmla="*/ 0 h 1867"/>
                    <a:gd name="T52" fmla="*/ 259 w 1498"/>
                    <a:gd name="T53" fmla="*/ 9 h 1867"/>
                    <a:gd name="T54" fmla="*/ 154 w 1498"/>
                    <a:gd name="T55" fmla="*/ 71 h 1867"/>
                    <a:gd name="T56" fmla="*/ 132 w 1498"/>
                    <a:gd name="T57" fmla="*/ 156 h 1867"/>
                    <a:gd name="T58" fmla="*/ 165 w 1498"/>
                    <a:gd name="T59" fmla="*/ 178 h 1867"/>
                    <a:gd name="T60" fmla="*/ 209 w 1498"/>
                    <a:gd name="T61" fmla="*/ 1217 h 1867"/>
                    <a:gd name="T62" fmla="*/ 187 w 1498"/>
                    <a:gd name="T63" fmla="*/ 134 h 1867"/>
                    <a:gd name="T64" fmla="*/ 176 w 1498"/>
                    <a:gd name="T65" fmla="*/ 115 h 1867"/>
                    <a:gd name="T66" fmla="*/ 1322 w 1498"/>
                    <a:gd name="T67" fmla="*/ 134 h 1867"/>
                    <a:gd name="T68" fmla="*/ 1289 w 1498"/>
                    <a:gd name="T69" fmla="*/ 156 h 1867"/>
                    <a:gd name="T70" fmla="*/ 1333 w 1498"/>
                    <a:gd name="T71" fmla="*/ 1217 h 1867"/>
                    <a:gd name="T72" fmla="*/ 1344 w 1498"/>
                    <a:gd name="T73" fmla="*/ 178 h 1867"/>
                    <a:gd name="T74" fmla="*/ 1366 w 1498"/>
                    <a:gd name="T75" fmla="*/ 93 h 1867"/>
                    <a:gd name="T76" fmla="*/ 288 w 1498"/>
                    <a:gd name="T77" fmla="*/ 44 h 1867"/>
                    <a:gd name="T78" fmla="*/ 1228 w 1498"/>
                    <a:gd name="T79" fmla="*/ 71 h 1867"/>
                    <a:gd name="T80" fmla="*/ 288 w 1498"/>
                    <a:gd name="T81"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8" h="1867">
                      <a:moveTo>
                        <a:pt x="1476" y="1743"/>
                      </a:moveTo>
                      <a:cubicBezTo>
                        <a:pt x="1413" y="1743"/>
                        <a:pt x="1413" y="1743"/>
                        <a:pt x="1413" y="1743"/>
                      </a:cubicBezTo>
                      <a:cubicBezTo>
                        <a:pt x="1413" y="1714"/>
                        <a:pt x="1413" y="1714"/>
                        <a:pt x="1413" y="1714"/>
                      </a:cubicBezTo>
                      <a:cubicBezTo>
                        <a:pt x="1413" y="1702"/>
                        <a:pt x="1403" y="1693"/>
                        <a:pt x="139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476" y="1867"/>
                        <a:pt x="1476" y="1867"/>
                        <a:pt x="1476" y="1867"/>
                      </a:cubicBezTo>
                      <a:cubicBezTo>
                        <a:pt x="1488" y="1867"/>
                        <a:pt x="1498" y="1858"/>
                        <a:pt x="1498" y="1846"/>
                      </a:cubicBezTo>
                      <a:cubicBezTo>
                        <a:pt x="1498" y="1765"/>
                        <a:pt x="1498" y="1765"/>
                        <a:pt x="1498" y="1765"/>
                      </a:cubicBezTo>
                      <a:cubicBezTo>
                        <a:pt x="1498" y="1753"/>
                        <a:pt x="1488" y="1743"/>
                        <a:pt x="1476" y="1743"/>
                      </a:cubicBezTo>
                      <a:close/>
                      <a:moveTo>
                        <a:pt x="516" y="179"/>
                      </a:moveTo>
                      <a:cubicBezTo>
                        <a:pt x="516" y="645"/>
                        <a:pt x="516" y="645"/>
                        <a:pt x="516" y="645"/>
                      </a:cubicBezTo>
                      <a:cubicBezTo>
                        <a:pt x="516" y="650"/>
                        <a:pt x="520" y="654"/>
                        <a:pt x="526" y="654"/>
                      </a:cubicBezTo>
                      <a:cubicBezTo>
                        <a:pt x="968" y="654"/>
                        <a:pt x="968" y="654"/>
                        <a:pt x="968" y="654"/>
                      </a:cubicBezTo>
                      <a:cubicBezTo>
                        <a:pt x="974" y="654"/>
                        <a:pt x="978" y="650"/>
                        <a:pt x="978" y="645"/>
                      </a:cubicBezTo>
                      <a:cubicBezTo>
                        <a:pt x="978" y="179"/>
                        <a:pt x="978" y="179"/>
                        <a:pt x="978" y="179"/>
                      </a:cubicBezTo>
                      <a:cubicBezTo>
                        <a:pt x="978" y="173"/>
                        <a:pt x="974" y="169"/>
                        <a:pt x="968" y="169"/>
                      </a:cubicBezTo>
                      <a:cubicBezTo>
                        <a:pt x="526" y="169"/>
                        <a:pt x="526" y="169"/>
                        <a:pt x="526" y="169"/>
                      </a:cubicBezTo>
                      <a:cubicBezTo>
                        <a:pt x="520" y="169"/>
                        <a:pt x="516" y="173"/>
                        <a:pt x="516" y="179"/>
                      </a:cubicBezTo>
                      <a:close/>
                      <a:moveTo>
                        <a:pt x="897" y="455"/>
                      </a:moveTo>
                      <a:cubicBezTo>
                        <a:pt x="794" y="455"/>
                        <a:pt x="794" y="455"/>
                        <a:pt x="794" y="455"/>
                      </a:cubicBezTo>
                      <a:cubicBezTo>
                        <a:pt x="794" y="557"/>
                        <a:pt x="794" y="557"/>
                        <a:pt x="794" y="557"/>
                      </a:cubicBezTo>
                      <a:cubicBezTo>
                        <a:pt x="705" y="557"/>
                        <a:pt x="705" y="557"/>
                        <a:pt x="705" y="557"/>
                      </a:cubicBezTo>
                      <a:cubicBezTo>
                        <a:pt x="705" y="455"/>
                        <a:pt x="705" y="455"/>
                        <a:pt x="705" y="455"/>
                      </a:cubicBezTo>
                      <a:cubicBezTo>
                        <a:pt x="603" y="455"/>
                        <a:pt x="603" y="455"/>
                        <a:pt x="603" y="455"/>
                      </a:cubicBezTo>
                      <a:cubicBezTo>
                        <a:pt x="603" y="366"/>
                        <a:pt x="603" y="366"/>
                        <a:pt x="603" y="366"/>
                      </a:cubicBezTo>
                      <a:cubicBezTo>
                        <a:pt x="705" y="366"/>
                        <a:pt x="705" y="366"/>
                        <a:pt x="705" y="366"/>
                      </a:cubicBezTo>
                      <a:cubicBezTo>
                        <a:pt x="705" y="263"/>
                        <a:pt x="705" y="263"/>
                        <a:pt x="705" y="263"/>
                      </a:cubicBezTo>
                      <a:cubicBezTo>
                        <a:pt x="794" y="263"/>
                        <a:pt x="794" y="263"/>
                        <a:pt x="794" y="263"/>
                      </a:cubicBezTo>
                      <a:cubicBezTo>
                        <a:pt x="794" y="366"/>
                        <a:pt x="794" y="366"/>
                        <a:pt x="794" y="366"/>
                      </a:cubicBezTo>
                      <a:cubicBezTo>
                        <a:pt x="897" y="366"/>
                        <a:pt x="897" y="366"/>
                        <a:pt x="897" y="366"/>
                      </a:cubicBezTo>
                      <a:lnTo>
                        <a:pt x="897" y="455"/>
                      </a:lnTo>
                      <a:close/>
                      <a:moveTo>
                        <a:pt x="1390" y="1650"/>
                      </a:moveTo>
                      <a:cubicBezTo>
                        <a:pt x="1346" y="1650"/>
                        <a:pt x="1346" y="1650"/>
                        <a:pt x="1346" y="1650"/>
                      </a:cubicBezTo>
                      <a:cubicBezTo>
                        <a:pt x="1346" y="1303"/>
                        <a:pt x="1346" y="1303"/>
                        <a:pt x="1346" y="1303"/>
                      </a:cubicBezTo>
                      <a:cubicBezTo>
                        <a:pt x="152" y="1303"/>
                        <a:pt x="152" y="1303"/>
                        <a:pt x="152" y="1303"/>
                      </a:cubicBezTo>
                      <a:cubicBezTo>
                        <a:pt x="152" y="1650"/>
                        <a:pt x="152" y="1650"/>
                        <a:pt x="152" y="1650"/>
                      </a:cubicBezTo>
                      <a:cubicBezTo>
                        <a:pt x="108" y="1650"/>
                        <a:pt x="108" y="1650"/>
                        <a:pt x="108" y="1650"/>
                      </a:cubicBezTo>
                      <a:cubicBezTo>
                        <a:pt x="108" y="1281"/>
                        <a:pt x="108" y="1281"/>
                        <a:pt x="108" y="1281"/>
                      </a:cubicBezTo>
                      <a:cubicBezTo>
                        <a:pt x="108" y="1269"/>
                        <a:pt x="117" y="1259"/>
                        <a:pt x="130" y="1259"/>
                      </a:cubicBezTo>
                      <a:cubicBezTo>
                        <a:pt x="1368" y="1259"/>
                        <a:pt x="1368" y="1259"/>
                        <a:pt x="1368" y="1259"/>
                      </a:cubicBezTo>
                      <a:cubicBezTo>
                        <a:pt x="1381" y="1259"/>
                        <a:pt x="1390" y="1269"/>
                        <a:pt x="1390" y="1281"/>
                      </a:cubicBezTo>
                      <a:lnTo>
                        <a:pt x="1390" y="1650"/>
                      </a:lnTo>
                      <a:close/>
                      <a:moveTo>
                        <a:pt x="1344" y="71"/>
                      </a:moveTo>
                      <a:cubicBezTo>
                        <a:pt x="1281" y="71"/>
                        <a:pt x="1281" y="71"/>
                        <a:pt x="1281" y="71"/>
                      </a:cubicBezTo>
                      <a:cubicBezTo>
                        <a:pt x="1239" y="9"/>
                        <a:pt x="1239" y="9"/>
                        <a:pt x="1239" y="9"/>
                      </a:cubicBezTo>
                      <a:cubicBezTo>
                        <a:pt x="1235" y="3"/>
                        <a:pt x="1228" y="0"/>
                        <a:pt x="1221" y="0"/>
                      </a:cubicBezTo>
                      <a:cubicBezTo>
                        <a:pt x="277" y="0"/>
                        <a:pt x="277" y="0"/>
                        <a:pt x="277" y="0"/>
                      </a:cubicBezTo>
                      <a:cubicBezTo>
                        <a:pt x="270" y="0"/>
                        <a:pt x="263" y="3"/>
                        <a:pt x="259" y="9"/>
                      </a:cubicBezTo>
                      <a:cubicBezTo>
                        <a:pt x="217" y="71"/>
                        <a:pt x="217" y="71"/>
                        <a:pt x="217" y="71"/>
                      </a:cubicBezTo>
                      <a:cubicBezTo>
                        <a:pt x="154" y="71"/>
                        <a:pt x="154" y="71"/>
                        <a:pt x="154" y="71"/>
                      </a:cubicBezTo>
                      <a:cubicBezTo>
                        <a:pt x="142" y="71"/>
                        <a:pt x="132" y="81"/>
                        <a:pt x="132" y="93"/>
                      </a:cubicBezTo>
                      <a:cubicBezTo>
                        <a:pt x="132" y="156"/>
                        <a:pt x="132" y="156"/>
                        <a:pt x="132" y="156"/>
                      </a:cubicBezTo>
                      <a:cubicBezTo>
                        <a:pt x="132" y="168"/>
                        <a:pt x="142" y="178"/>
                        <a:pt x="154" y="178"/>
                      </a:cubicBezTo>
                      <a:cubicBezTo>
                        <a:pt x="165" y="178"/>
                        <a:pt x="165" y="178"/>
                        <a:pt x="165" y="178"/>
                      </a:cubicBezTo>
                      <a:cubicBezTo>
                        <a:pt x="165" y="1217"/>
                        <a:pt x="165" y="1217"/>
                        <a:pt x="165" y="1217"/>
                      </a:cubicBezTo>
                      <a:cubicBezTo>
                        <a:pt x="209" y="1217"/>
                        <a:pt x="209" y="1217"/>
                        <a:pt x="209" y="1217"/>
                      </a:cubicBezTo>
                      <a:cubicBezTo>
                        <a:pt x="209" y="156"/>
                        <a:pt x="209" y="156"/>
                        <a:pt x="209" y="156"/>
                      </a:cubicBezTo>
                      <a:cubicBezTo>
                        <a:pt x="209" y="144"/>
                        <a:pt x="199" y="134"/>
                        <a:pt x="187" y="134"/>
                      </a:cubicBezTo>
                      <a:cubicBezTo>
                        <a:pt x="176" y="134"/>
                        <a:pt x="176" y="134"/>
                        <a:pt x="176" y="134"/>
                      </a:cubicBezTo>
                      <a:cubicBezTo>
                        <a:pt x="176" y="115"/>
                        <a:pt x="176" y="115"/>
                        <a:pt x="176" y="115"/>
                      </a:cubicBezTo>
                      <a:cubicBezTo>
                        <a:pt x="1322" y="115"/>
                        <a:pt x="1322" y="115"/>
                        <a:pt x="1322" y="115"/>
                      </a:cubicBezTo>
                      <a:cubicBezTo>
                        <a:pt x="1322" y="134"/>
                        <a:pt x="1322" y="134"/>
                        <a:pt x="1322" y="134"/>
                      </a:cubicBezTo>
                      <a:cubicBezTo>
                        <a:pt x="1311" y="134"/>
                        <a:pt x="1311" y="134"/>
                        <a:pt x="1311" y="134"/>
                      </a:cubicBezTo>
                      <a:cubicBezTo>
                        <a:pt x="1299" y="134"/>
                        <a:pt x="1289" y="144"/>
                        <a:pt x="1289" y="156"/>
                      </a:cubicBezTo>
                      <a:cubicBezTo>
                        <a:pt x="1289" y="1217"/>
                        <a:pt x="1289" y="1217"/>
                        <a:pt x="1289" y="1217"/>
                      </a:cubicBezTo>
                      <a:cubicBezTo>
                        <a:pt x="1333" y="1217"/>
                        <a:pt x="1333" y="1217"/>
                        <a:pt x="1333" y="1217"/>
                      </a:cubicBezTo>
                      <a:cubicBezTo>
                        <a:pt x="1333" y="178"/>
                        <a:pt x="1333" y="178"/>
                        <a:pt x="1333" y="178"/>
                      </a:cubicBezTo>
                      <a:cubicBezTo>
                        <a:pt x="1344" y="178"/>
                        <a:pt x="1344" y="178"/>
                        <a:pt x="1344" y="178"/>
                      </a:cubicBezTo>
                      <a:cubicBezTo>
                        <a:pt x="1356" y="178"/>
                        <a:pt x="1366" y="168"/>
                        <a:pt x="1366" y="156"/>
                      </a:cubicBezTo>
                      <a:cubicBezTo>
                        <a:pt x="1366" y="93"/>
                        <a:pt x="1366" y="93"/>
                        <a:pt x="1366" y="93"/>
                      </a:cubicBezTo>
                      <a:cubicBezTo>
                        <a:pt x="1366" y="81"/>
                        <a:pt x="1356" y="71"/>
                        <a:pt x="1344" y="71"/>
                      </a:cubicBezTo>
                      <a:close/>
                      <a:moveTo>
                        <a:pt x="288" y="44"/>
                      </a:moveTo>
                      <a:cubicBezTo>
                        <a:pt x="1210" y="44"/>
                        <a:pt x="1210" y="44"/>
                        <a:pt x="1210" y="44"/>
                      </a:cubicBezTo>
                      <a:cubicBezTo>
                        <a:pt x="1228" y="71"/>
                        <a:pt x="1228" y="71"/>
                        <a:pt x="1228" y="71"/>
                      </a:cubicBezTo>
                      <a:cubicBezTo>
                        <a:pt x="270" y="71"/>
                        <a:pt x="270" y="71"/>
                        <a:pt x="270" y="71"/>
                      </a:cubicBezTo>
                      <a:lnTo>
                        <a:pt x="288" y="44"/>
                      </a:ln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21">
                  <a:extLst>
                    <a:ext uri="{FF2B5EF4-FFF2-40B4-BE49-F238E27FC236}">
                      <a16:creationId xmlns:a16="http://schemas.microsoft.com/office/drawing/2014/main" id="{FF60CA98-5C88-4DFE-8D40-31058E44F27C}"/>
                    </a:ext>
                  </a:extLst>
                </p:cNvPr>
                <p:cNvSpPr>
                  <a:spLocks noEditPoints="1"/>
                </p:cNvSpPr>
                <p:nvPr/>
              </p:nvSpPr>
              <p:spPr bwMode="auto">
                <a:xfrm>
                  <a:off x="5788914" y="2868168"/>
                  <a:ext cx="612648" cy="1058037"/>
                </a:xfrm>
                <a:custGeom>
                  <a:avLst/>
                  <a:gdLst>
                    <a:gd name="T0" fmla="*/ 137 w 858"/>
                    <a:gd name="T1" fmla="*/ 481 h 1481"/>
                    <a:gd name="T2" fmla="*/ 10 w 858"/>
                    <a:gd name="T3" fmla="*/ 491 h 1481"/>
                    <a:gd name="T4" fmla="*/ 0 w 858"/>
                    <a:gd name="T5" fmla="*/ 284 h 1481"/>
                    <a:gd name="T6" fmla="*/ 127 w 858"/>
                    <a:gd name="T7" fmla="*/ 274 h 1481"/>
                    <a:gd name="T8" fmla="*/ 127 w 858"/>
                    <a:gd name="T9" fmla="*/ 0 h 1481"/>
                    <a:gd name="T10" fmla="*/ 0 w 858"/>
                    <a:gd name="T11" fmla="*/ 10 h 1481"/>
                    <a:gd name="T12" fmla="*/ 10 w 858"/>
                    <a:gd name="T13" fmla="*/ 217 h 1481"/>
                    <a:gd name="T14" fmla="*/ 137 w 858"/>
                    <a:gd name="T15" fmla="*/ 207 h 1481"/>
                    <a:gd name="T16" fmla="*/ 127 w 858"/>
                    <a:gd name="T17" fmla="*/ 0 h 1481"/>
                    <a:gd name="T18" fmla="*/ 10 w 858"/>
                    <a:gd name="T19" fmla="*/ 548 h 1481"/>
                    <a:gd name="T20" fmla="*/ 0 w 858"/>
                    <a:gd name="T21" fmla="*/ 755 h 1481"/>
                    <a:gd name="T22" fmla="*/ 127 w 858"/>
                    <a:gd name="T23" fmla="*/ 765 h 1481"/>
                    <a:gd name="T24" fmla="*/ 137 w 858"/>
                    <a:gd name="T25" fmla="*/ 558 h 1481"/>
                    <a:gd name="T26" fmla="*/ 127 w 858"/>
                    <a:gd name="T27" fmla="*/ 822 h 1481"/>
                    <a:gd name="T28" fmla="*/ 0 w 858"/>
                    <a:gd name="T29" fmla="*/ 832 h 1481"/>
                    <a:gd name="T30" fmla="*/ 10 w 858"/>
                    <a:gd name="T31" fmla="*/ 1039 h 1481"/>
                    <a:gd name="T32" fmla="*/ 137 w 858"/>
                    <a:gd name="T33" fmla="*/ 1029 h 1481"/>
                    <a:gd name="T34" fmla="*/ 127 w 858"/>
                    <a:gd name="T35" fmla="*/ 822 h 1481"/>
                    <a:gd name="T36" fmla="*/ 206 w 858"/>
                    <a:gd name="T37" fmla="*/ 822 h 1481"/>
                    <a:gd name="T38" fmla="*/ 196 w 858"/>
                    <a:gd name="T39" fmla="*/ 1029 h 1481"/>
                    <a:gd name="T40" fmla="*/ 323 w 858"/>
                    <a:gd name="T41" fmla="*/ 1039 h 1481"/>
                    <a:gd name="T42" fmla="*/ 333 w 858"/>
                    <a:gd name="T43" fmla="*/ 832 h 1481"/>
                    <a:gd name="T44" fmla="*/ 323 w 858"/>
                    <a:gd name="T45" fmla="*/ 548 h 1481"/>
                    <a:gd name="T46" fmla="*/ 196 w 858"/>
                    <a:gd name="T47" fmla="*/ 558 h 1481"/>
                    <a:gd name="T48" fmla="*/ 206 w 858"/>
                    <a:gd name="T49" fmla="*/ 765 h 1481"/>
                    <a:gd name="T50" fmla="*/ 333 w 858"/>
                    <a:gd name="T51" fmla="*/ 755 h 1481"/>
                    <a:gd name="T52" fmla="*/ 323 w 858"/>
                    <a:gd name="T53" fmla="*/ 548 h 1481"/>
                    <a:gd name="T54" fmla="*/ 721 w 858"/>
                    <a:gd name="T55" fmla="*/ 481 h 1481"/>
                    <a:gd name="T56" fmla="*/ 848 w 858"/>
                    <a:gd name="T57" fmla="*/ 491 h 1481"/>
                    <a:gd name="T58" fmla="*/ 858 w 858"/>
                    <a:gd name="T59" fmla="*/ 284 h 1481"/>
                    <a:gd name="T60" fmla="*/ 731 w 858"/>
                    <a:gd name="T61" fmla="*/ 274 h 1481"/>
                    <a:gd name="T62" fmla="*/ 721 w 858"/>
                    <a:gd name="T63" fmla="*/ 10 h 1481"/>
                    <a:gd name="T64" fmla="*/ 731 w 858"/>
                    <a:gd name="T65" fmla="*/ 217 h 1481"/>
                    <a:gd name="T66" fmla="*/ 858 w 858"/>
                    <a:gd name="T67" fmla="*/ 207 h 1481"/>
                    <a:gd name="T68" fmla="*/ 848 w 858"/>
                    <a:gd name="T69" fmla="*/ 0 h 1481"/>
                    <a:gd name="T70" fmla="*/ 721 w 858"/>
                    <a:gd name="T71" fmla="*/ 10 h 1481"/>
                    <a:gd name="T72" fmla="*/ 721 w 858"/>
                    <a:gd name="T73" fmla="*/ 755 h 1481"/>
                    <a:gd name="T74" fmla="*/ 848 w 858"/>
                    <a:gd name="T75" fmla="*/ 765 h 1481"/>
                    <a:gd name="T76" fmla="*/ 858 w 858"/>
                    <a:gd name="T77" fmla="*/ 558 h 1481"/>
                    <a:gd name="T78" fmla="*/ 731 w 858"/>
                    <a:gd name="T79" fmla="*/ 548 h 1481"/>
                    <a:gd name="T80" fmla="*/ 721 w 858"/>
                    <a:gd name="T81" fmla="*/ 832 h 1481"/>
                    <a:gd name="T82" fmla="*/ 731 w 858"/>
                    <a:gd name="T83" fmla="*/ 1039 h 1481"/>
                    <a:gd name="T84" fmla="*/ 858 w 858"/>
                    <a:gd name="T85" fmla="*/ 1029 h 1481"/>
                    <a:gd name="T86" fmla="*/ 848 w 858"/>
                    <a:gd name="T87" fmla="*/ 822 h 1481"/>
                    <a:gd name="T88" fmla="*/ 721 w 858"/>
                    <a:gd name="T89" fmla="*/ 832 h 1481"/>
                    <a:gd name="T90" fmla="*/ 521 w 858"/>
                    <a:gd name="T91" fmla="*/ 1029 h 1481"/>
                    <a:gd name="T92" fmla="*/ 648 w 858"/>
                    <a:gd name="T93" fmla="*/ 1039 h 1481"/>
                    <a:gd name="T94" fmla="*/ 658 w 858"/>
                    <a:gd name="T95" fmla="*/ 832 h 1481"/>
                    <a:gd name="T96" fmla="*/ 531 w 858"/>
                    <a:gd name="T97" fmla="*/ 822 h 1481"/>
                    <a:gd name="T98" fmla="*/ 521 w 858"/>
                    <a:gd name="T99" fmla="*/ 558 h 1481"/>
                    <a:gd name="T100" fmla="*/ 531 w 858"/>
                    <a:gd name="T101" fmla="*/ 765 h 1481"/>
                    <a:gd name="T102" fmla="*/ 658 w 858"/>
                    <a:gd name="T103" fmla="*/ 755 h 1481"/>
                    <a:gd name="T104" fmla="*/ 648 w 858"/>
                    <a:gd name="T105" fmla="*/ 548 h 1481"/>
                    <a:gd name="T106" fmla="*/ 521 w 858"/>
                    <a:gd name="T107" fmla="*/ 558 h 1481"/>
                    <a:gd name="T108" fmla="*/ 409 w 858"/>
                    <a:gd name="T109" fmla="*/ 1197 h 1481"/>
                    <a:gd name="T110" fmla="*/ 126 w 858"/>
                    <a:gd name="T111" fmla="*/ 1187 h 1481"/>
                    <a:gd name="T112" fmla="*/ 116 w 858"/>
                    <a:gd name="T113" fmla="*/ 1471 h 1481"/>
                    <a:gd name="T114" fmla="*/ 399 w 858"/>
                    <a:gd name="T115" fmla="*/ 1481 h 1481"/>
                    <a:gd name="T116" fmla="*/ 742 w 858"/>
                    <a:gd name="T117" fmla="*/ 1471 h 1481"/>
                    <a:gd name="T118" fmla="*/ 732 w 858"/>
                    <a:gd name="T119" fmla="*/ 1187 h 1481"/>
                    <a:gd name="T120" fmla="*/ 449 w 858"/>
                    <a:gd name="T121" fmla="*/ 1197 h 1481"/>
                    <a:gd name="T122" fmla="*/ 459 w 858"/>
                    <a:gd name="T123" fmla="*/ 1481 h 1481"/>
                    <a:gd name="T124" fmla="*/ 742 w 858"/>
                    <a:gd name="T125" fmla="*/ 147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 h="1481">
                      <a:moveTo>
                        <a:pt x="137" y="284"/>
                      </a:moveTo>
                      <a:cubicBezTo>
                        <a:pt x="137" y="481"/>
                        <a:pt x="137" y="481"/>
                        <a:pt x="137" y="481"/>
                      </a:cubicBezTo>
                      <a:cubicBezTo>
                        <a:pt x="137" y="486"/>
                        <a:pt x="133" y="491"/>
                        <a:pt x="127" y="491"/>
                      </a:cubicBezTo>
                      <a:cubicBezTo>
                        <a:pt x="10" y="491"/>
                        <a:pt x="10" y="491"/>
                        <a:pt x="10" y="491"/>
                      </a:cubicBezTo>
                      <a:cubicBezTo>
                        <a:pt x="5" y="491"/>
                        <a:pt x="0" y="486"/>
                        <a:pt x="0" y="481"/>
                      </a:cubicBezTo>
                      <a:cubicBezTo>
                        <a:pt x="0" y="284"/>
                        <a:pt x="0" y="284"/>
                        <a:pt x="0" y="284"/>
                      </a:cubicBezTo>
                      <a:cubicBezTo>
                        <a:pt x="0" y="279"/>
                        <a:pt x="5" y="274"/>
                        <a:pt x="10" y="274"/>
                      </a:cubicBezTo>
                      <a:cubicBezTo>
                        <a:pt x="127" y="274"/>
                        <a:pt x="127" y="274"/>
                        <a:pt x="127" y="274"/>
                      </a:cubicBezTo>
                      <a:cubicBezTo>
                        <a:pt x="133" y="274"/>
                        <a:pt x="137" y="279"/>
                        <a:pt x="137" y="284"/>
                      </a:cubicBezTo>
                      <a:close/>
                      <a:moveTo>
                        <a:pt x="127" y="0"/>
                      </a:moveTo>
                      <a:cubicBezTo>
                        <a:pt x="10" y="0"/>
                        <a:pt x="10" y="0"/>
                        <a:pt x="10" y="0"/>
                      </a:cubicBezTo>
                      <a:cubicBezTo>
                        <a:pt x="5" y="0"/>
                        <a:pt x="0" y="5"/>
                        <a:pt x="0" y="10"/>
                      </a:cubicBezTo>
                      <a:cubicBezTo>
                        <a:pt x="0" y="207"/>
                        <a:pt x="0" y="207"/>
                        <a:pt x="0" y="207"/>
                      </a:cubicBezTo>
                      <a:cubicBezTo>
                        <a:pt x="0" y="213"/>
                        <a:pt x="5" y="217"/>
                        <a:pt x="10" y="217"/>
                      </a:cubicBezTo>
                      <a:cubicBezTo>
                        <a:pt x="127" y="217"/>
                        <a:pt x="127" y="217"/>
                        <a:pt x="127" y="217"/>
                      </a:cubicBezTo>
                      <a:cubicBezTo>
                        <a:pt x="133" y="217"/>
                        <a:pt x="137" y="213"/>
                        <a:pt x="137" y="207"/>
                      </a:cubicBezTo>
                      <a:cubicBezTo>
                        <a:pt x="137" y="10"/>
                        <a:pt x="137" y="10"/>
                        <a:pt x="137" y="10"/>
                      </a:cubicBezTo>
                      <a:cubicBezTo>
                        <a:pt x="137" y="5"/>
                        <a:pt x="133" y="0"/>
                        <a:pt x="127" y="0"/>
                      </a:cubicBezTo>
                      <a:close/>
                      <a:moveTo>
                        <a:pt x="127" y="548"/>
                      </a:moveTo>
                      <a:cubicBezTo>
                        <a:pt x="10" y="548"/>
                        <a:pt x="10" y="548"/>
                        <a:pt x="10" y="548"/>
                      </a:cubicBezTo>
                      <a:cubicBezTo>
                        <a:pt x="5" y="548"/>
                        <a:pt x="0" y="552"/>
                        <a:pt x="0" y="558"/>
                      </a:cubicBezTo>
                      <a:cubicBezTo>
                        <a:pt x="0" y="755"/>
                        <a:pt x="0" y="755"/>
                        <a:pt x="0" y="755"/>
                      </a:cubicBezTo>
                      <a:cubicBezTo>
                        <a:pt x="0" y="760"/>
                        <a:pt x="5" y="765"/>
                        <a:pt x="10" y="765"/>
                      </a:cubicBezTo>
                      <a:cubicBezTo>
                        <a:pt x="127" y="765"/>
                        <a:pt x="127" y="765"/>
                        <a:pt x="127" y="765"/>
                      </a:cubicBezTo>
                      <a:cubicBezTo>
                        <a:pt x="133" y="765"/>
                        <a:pt x="137" y="760"/>
                        <a:pt x="137" y="755"/>
                      </a:cubicBezTo>
                      <a:cubicBezTo>
                        <a:pt x="137" y="558"/>
                        <a:pt x="137" y="558"/>
                        <a:pt x="137" y="558"/>
                      </a:cubicBezTo>
                      <a:cubicBezTo>
                        <a:pt x="137" y="552"/>
                        <a:pt x="133" y="548"/>
                        <a:pt x="127" y="548"/>
                      </a:cubicBezTo>
                      <a:close/>
                      <a:moveTo>
                        <a:pt x="127" y="822"/>
                      </a:moveTo>
                      <a:cubicBezTo>
                        <a:pt x="10" y="822"/>
                        <a:pt x="10" y="822"/>
                        <a:pt x="10" y="822"/>
                      </a:cubicBezTo>
                      <a:cubicBezTo>
                        <a:pt x="5" y="822"/>
                        <a:pt x="0" y="826"/>
                        <a:pt x="0" y="832"/>
                      </a:cubicBezTo>
                      <a:cubicBezTo>
                        <a:pt x="0" y="1029"/>
                        <a:pt x="0" y="1029"/>
                        <a:pt x="0" y="1029"/>
                      </a:cubicBezTo>
                      <a:cubicBezTo>
                        <a:pt x="0" y="1034"/>
                        <a:pt x="5" y="1039"/>
                        <a:pt x="10" y="1039"/>
                      </a:cubicBezTo>
                      <a:cubicBezTo>
                        <a:pt x="127" y="1039"/>
                        <a:pt x="127" y="1039"/>
                        <a:pt x="127" y="1039"/>
                      </a:cubicBezTo>
                      <a:cubicBezTo>
                        <a:pt x="133" y="1039"/>
                        <a:pt x="137" y="1034"/>
                        <a:pt x="137" y="1029"/>
                      </a:cubicBezTo>
                      <a:cubicBezTo>
                        <a:pt x="137" y="832"/>
                        <a:pt x="137" y="832"/>
                        <a:pt x="137" y="832"/>
                      </a:cubicBezTo>
                      <a:cubicBezTo>
                        <a:pt x="137" y="826"/>
                        <a:pt x="133" y="822"/>
                        <a:pt x="127" y="822"/>
                      </a:cubicBezTo>
                      <a:close/>
                      <a:moveTo>
                        <a:pt x="323" y="822"/>
                      </a:moveTo>
                      <a:cubicBezTo>
                        <a:pt x="206" y="822"/>
                        <a:pt x="206" y="822"/>
                        <a:pt x="206" y="822"/>
                      </a:cubicBezTo>
                      <a:cubicBezTo>
                        <a:pt x="200" y="822"/>
                        <a:pt x="196" y="826"/>
                        <a:pt x="196" y="832"/>
                      </a:cubicBezTo>
                      <a:cubicBezTo>
                        <a:pt x="196" y="1029"/>
                        <a:pt x="196" y="1029"/>
                        <a:pt x="196" y="1029"/>
                      </a:cubicBezTo>
                      <a:cubicBezTo>
                        <a:pt x="196" y="1034"/>
                        <a:pt x="200" y="1039"/>
                        <a:pt x="206" y="1039"/>
                      </a:cubicBezTo>
                      <a:cubicBezTo>
                        <a:pt x="323" y="1039"/>
                        <a:pt x="323" y="1039"/>
                        <a:pt x="323" y="1039"/>
                      </a:cubicBezTo>
                      <a:cubicBezTo>
                        <a:pt x="328" y="1039"/>
                        <a:pt x="333" y="1034"/>
                        <a:pt x="333" y="1029"/>
                      </a:cubicBezTo>
                      <a:cubicBezTo>
                        <a:pt x="333" y="832"/>
                        <a:pt x="333" y="832"/>
                        <a:pt x="333" y="832"/>
                      </a:cubicBezTo>
                      <a:cubicBezTo>
                        <a:pt x="333" y="826"/>
                        <a:pt x="328" y="822"/>
                        <a:pt x="323" y="822"/>
                      </a:cubicBezTo>
                      <a:close/>
                      <a:moveTo>
                        <a:pt x="323" y="548"/>
                      </a:moveTo>
                      <a:cubicBezTo>
                        <a:pt x="206" y="548"/>
                        <a:pt x="206" y="548"/>
                        <a:pt x="206" y="548"/>
                      </a:cubicBezTo>
                      <a:cubicBezTo>
                        <a:pt x="200" y="548"/>
                        <a:pt x="196" y="552"/>
                        <a:pt x="196" y="558"/>
                      </a:cubicBezTo>
                      <a:cubicBezTo>
                        <a:pt x="196" y="755"/>
                        <a:pt x="196" y="755"/>
                        <a:pt x="196" y="755"/>
                      </a:cubicBezTo>
                      <a:cubicBezTo>
                        <a:pt x="196" y="760"/>
                        <a:pt x="200" y="765"/>
                        <a:pt x="206" y="765"/>
                      </a:cubicBezTo>
                      <a:cubicBezTo>
                        <a:pt x="323" y="765"/>
                        <a:pt x="323" y="765"/>
                        <a:pt x="323" y="765"/>
                      </a:cubicBezTo>
                      <a:cubicBezTo>
                        <a:pt x="328" y="765"/>
                        <a:pt x="333" y="760"/>
                        <a:pt x="333" y="755"/>
                      </a:cubicBezTo>
                      <a:cubicBezTo>
                        <a:pt x="333" y="558"/>
                        <a:pt x="333" y="558"/>
                        <a:pt x="333" y="558"/>
                      </a:cubicBezTo>
                      <a:cubicBezTo>
                        <a:pt x="333" y="552"/>
                        <a:pt x="328" y="548"/>
                        <a:pt x="323" y="548"/>
                      </a:cubicBezTo>
                      <a:close/>
                      <a:moveTo>
                        <a:pt x="721" y="284"/>
                      </a:moveTo>
                      <a:cubicBezTo>
                        <a:pt x="721" y="481"/>
                        <a:pt x="721" y="481"/>
                        <a:pt x="721" y="481"/>
                      </a:cubicBezTo>
                      <a:cubicBezTo>
                        <a:pt x="721" y="486"/>
                        <a:pt x="725" y="491"/>
                        <a:pt x="731" y="491"/>
                      </a:cubicBezTo>
                      <a:cubicBezTo>
                        <a:pt x="848" y="491"/>
                        <a:pt x="848" y="491"/>
                        <a:pt x="848" y="491"/>
                      </a:cubicBezTo>
                      <a:cubicBezTo>
                        <a:pt x="853" y="491"/>
                        <a:pt x="858" y="486"/>
                        <a:pt x="858" y="481"/>
                      </a:cubicBezTo>
                      <a:cubicBezTo>
                        <a:pt x="858" y="284"/>
                        <a:pt x="858" y="284"/>
                        <a:pt x="858" y="284"/>
                      </a:cubicBezTo>
                      <a:cubicBezTo>
                        <a:pt x="858" y="279"/>
                        <a:pt x="853" y="274"/>
                        <a:pt x="848" y="274"/>
                      </a:cubicBezTo>
                      <a:cubicBezTo>
                        <a:pt x="731" y="274"/>
                        <a:pt x="731" y="274"/>
                        <a:pt x="731" y="274"/>
                      </a:cubicBezTo>
                      <a:cubicBezTo>
                        <a:pt x="725" y="274"/>
                        <a:pt x="721" y="279"/>
                        <a:pt x="721" y="284"/>
                      </a:cubicBezTo>
                      <a:close/>
                      <a:moveTo>
                        <a:pt x="721" y="10"/>
                      </a:moveTo>
                      <a:cubicBezTo>
                        <a:pt x="721" y="207"/>
                        <a:pt x="721" y="207"/>
                        <a:pt x="721" y="207"/>
                      </a:cubicBezTo>
                      <a:cubicBezTo>
                        <a:pt x="721" y="213"/>
                        <a:pt x="725" y="217"/>
                        <a:pt x="731" y="217"/>
                      </a:cubicBezTo>
                      <a:cubicBezTo>
                        <a:pt x="848" y="217"/>
                        <a:pt x="848" y="217"/>
                        <a:pt x="848" y="217"/>
                      </a:cubicBezTo>
                      <a:cubicBezTo>
                        <a:pt x="853" y="217"/>
                        <a:pt x="858" y="213"/>
                        <a:pt x="858" y="207"/>
                      </a:cubicBezTo>
                      <a:cubicBezTo>
                        <a:pt x="858" y="10"/>
                        <a:pt x="858" y="10"/>
                        <a:pt x="858" y="10"/>
                      </a:cubicBezTo>
                      <a:cubicBezTo>
                        <a:pt x="858" y="5"/>
                        <a:pt x="853" y="0"/>
                        <a:pt x="848" y="0"/>
                      </a:cubicBezTo>
                      <a:cubicBezTo>
                        <a:pt x="731" y="0"/>
                        <a:pt x="731" y="0"/>
                        <a:pt x="731" y="0"/>
                      </a:cubicBezTo>
                      <a:cubicBezTo>
                        <a:pt x="725" y="0"/>
                        <a:pt x="721" y="5"/>
                        <a:pt x="721" y="10"/>
                      </a:cubicBezTo>
                      <a:close/>
                      <a:moveTo>
                        <a:pt x="721" y="558"/>
                      </a:moveTo>
                      <a:cubicBezTo>
                        <a:pt x="721" y="755"/>
                        <a:pt x="721" y="755"/>
                        <a:pt x="721" y="755"/>
                      </a:cubicBezTo>
                      <a:cubicBezTo>
                        <a:pt x="721" y="760"/>
                        <a:pt x="725" y="765"/>
                        <a:pt x="731" y="765"/>
                      </a:cubicBezTo>
                      <a:cubicBezTo>
                        <a:pt x="848" y="765"/>
                        <a:pt x="848" y="765"/>
                        <a:pt x="848" y="765"/>
                      </a:cubicBezTo>
                      <a:cubicBezTo>
                        <a:pt x="853" y="765"/>
                        <a:pt x="858" y="760"/>
                        <a:pt x="858" y="755"/>
                      </a:cubicBezTo>
                      <a:cubicBezTo>
                        <a:pt x="858" y="558"/>
                        <a:pt x="858" y="558"/>
                        <a:pt x="858" y="558"/>
                      </a:cubicBezTo>
                      <a:cubicBezTo>
                        <a:pt x="858" y="552"/>
                        <a:pt x="853" y="548"/>
                        <a:pt x="848" y="548"/>
                      </a:cubicBezTo>
                      <a:cubicBezTo>
                        <a:pt x="731" y="548"/>
                        <a:pt x="731" y="548"/>
                        <a:pt x="731" y="548"/>
                      </a:cubicBezTo>
                      <a:cubicBezTo>
                        <a:pt x="725" y="548"/>
                        <a:pt x="721" y="552"/>
                        <a:pt x="721" y="558"/>
                      </a:cubicBezTo>
                      <a:close/>
                      <a:moveTo>
                        <a:pt x="721" y="832"/>
                      </a:moveTo>
                      <a:cubicBezTo>
                        <a:pt x="721" y="1029"/>
                        <a:pt x="721" y="1029"/>
                        <a:pt x="721" y="1029"/>
                      </a:cubicBezTo>
                      <a:cubicBezTo>
                        <a:pt x="721" y="1034"/>
                        <a:pt x="725" y="1039"/>
                        <a:pt x="731" y="1039"/>
                      </a:cubicBezTo>
                      <a:cubicBezTo>
                        <a:pt x="848" y="1039"/>
                        <a:pt x="848" y="1039"/>
                        <a:pt x="848" y="1039"/>
                      </a:cubicBezTo>
                      <a:cubicBezTo>
                        <a:pt x="853" y="1039"/>
                        <a:pt x="858" y="1034"/>
                        <a:pt x="858" y="1029"/>
                      </a:cubicBezTo>
                      <a:cubicBezTo>
                        <a:pt x="858" y="832"/>
                        <a:pt x="858" y="832"/>
                        <a:pt x="858" y="832"/>
                      </a:cubicBezTo>
                      <a:cubicBezTo>
                        <a:pt x="858" y="826"/>
                        <a:pt x="853" y="822"/>
                        <a:pt x="848" y="822"/>
                      </a:cubicBezTo>
                      <a:cubicBezTo>
                        <a:pt x="731" y="822"/>
                        <a:pt x="731" y="822"/>
                        <a:pt x="731" y="822"/>
                      </a:cubicBezTo>
                      <a:cubicBezTo>
                        <a:pt x="725" y="822"/>
                        <a:pt x="721" y="826"/>
                        <a:pt x="721" y="832"/>
                      </a:cubicBezTo>
                      <a:close/>
                      <a:moveTo>
                        <a:pt x="521" y="832"/>
                      </a:moveTo>
                      <a:cubicBezTo>
                        <a:pt x="521" y="1029"/>
                        <a:pt x="521" y="1029"/>
                        <a:pt x="521" y="1029"/>
                      </a:cubicBezTo>
                      <a:cubicBezTo>
                        <a:pt x="521" y="1034"/>
                        <a:pt x="526" y="1039"/>
                        <a:pt x="531" y="1039"/>
                      </a:cubicBezTo>
                      <a:cubicBezTo>
                        <a:pt x="648" y="1039"/>
                        <a:pt x="648" y="1039"/>
                        <a:pt x="648" y="1039"/>
                      </a:cubicBezTo>
                      <a:cubicBezTo>
                        <a:pt x="654" y="1039"/>
                        <a:pt x="658" y="1034"/>
                        <a:pt x="658" y="1029"/>
                      </a:cubicBezTo>
                      <a:cubicBezTo>
                        <a:pt x="658" y="832"/>
                        <a:pt x="658" y="832"/>
                        <a:pt x="658" y="832"/>
                      </a:cubicBezTo>
                      <a:cubicBezTo>
                        <a:pt x="658" y="826"/>
                        <a:pt x="654" y="822"/>
                        <a:pt x="648" y="822"/>
                      </a:cubicBezTo>
                      <a:cubicBezTo>
                        <a:pt x="531" y="822"/>
                        <a:pt x="531" y="822"/>
                        <a:pt x="531" y="822"/>
                      </a:cubicBezTo>
                      <a:cubicBezTo>
                        <a:pt x="526" y="822"/>
                        <a:pt x="521" y="826"/>
                        <a:pt x="521" y="832"/>
                      </a:cubicBezTo>
                      <a:close/>
                      <a:moveTo>
                        <a:pt x="521" y="558"/>
                      </a:moveTo>
                      <a:cubicBezTo>
                        <a:pt x="521" y="755"/>
                        <a:pt x="521" y="755"/>
                        <a:pt x="521" y="755"/>
                      </a:cubicBezTo>
                      <a:cubicBezTo>
                        <a:pt x="521" y="760"/>
                        <a:pt x="526" y="765"/>
                        <a:pt x="531" y="765"/>
                      </a:cubicBezTo>
                      <a:cubicBezTo>
                        <a:pt x="648" y="765"/>
                        <a:pt x="648" y="765"/>
                        <a:pt x="648" y="765"/>
                      </a:cubicBezTo>
                      <a:cubicBezTo>
                        <a:pt x="654" y="765"/>
                        <a:pt x="658" y="760"/>
                        <a:pt x="658" y="755"/>
                      </a:cubicBezTo>
                      <a:cubicBezTo>
                        <a:pt x="658" y="558"/>
                        <a:pt x="658" y="558"/>
                        <a:pt x="658" y="558"/>
                      </a:cubicBezTo>
                      <a:cubicBezTo>
                        <a:pt x="658" y="552"/>
                        <a:pt x="654" y="548"/>
                        <a:pt x="648" y="548"/>
                      </a:cubicBezTo>
                      <a:cubicBezTo>
                        <a:pt x="531" y="548"/>
                        <a:pt x="531" y="548"/>
                        <a:pt x="531" y="548"/>
                      </a:cubicBezTo>
                      <a:cubicBezTo>
                        <a:pt x="526" y="548"/>
                        <a:pt x="521" y="552"/>
                        <a:pt x="521" y="558"/>
                      </a:cubicBezTo>
                      <a:close/>
                      <a:moveTo>
                        <a:pt x="409" y="1471"/>
                      </a:moveTo>
                      <a:cubicBezTo>
                        <a:pt x="409" y="1197"/>
                        <a:pt x="409" y="1197"/>
                        <a:pt x="409" y="1197"/>
                      </a:cubicBezTo>
                      <a:cubicBezTo>
                        <a:pt x="409" y="1191"/>
                        <a:pt x="405" y="1187"/>
                        <a:pt x="399" y="1187"/>
                      </a:cubicBezTo>
                      <a:cubicBezTo>
                        <a:pt x="126" y="1187"/>
                        <a:pt x="126" y="1187"/>
                        <a:pt x="126" y="1187"/>
                      </a:cubicBezTo>
                      <a:cubicBezTo>
                        <a:pt x="121" y="1187"/>
                        <a:pt x="116" y="1191"/>
                        <a:pt x="116" y="1197"/>
                      </a:cubicBezTo>
                      <a:cubicBezTo>
                        <a:pt x="116" y="1471"/>
                        <a:pt x="116" y="1471"/>
                        <a:pt x="116" y="1471"/>
                      </a:cubicBezTo>
                      <a:cubicBezTo>
                        <a:pt x="116" y="1477"/>
                        <a:pt x="121" y="1481"/>
                        <a:pt x="126" y="1481"/>
                      </a:cubicBezTo>
                      <a:cubicBezTo>
                        <a:pt x="399" y="1481"/>
                        <a:pt x="399" y="1481"/>
                        <a:pt x="399" y="1481"/>
                      </a:cubicBezTo>
                      <a:cubicBezTo>
                        <a:pt x="405" y="1481"/>
                        <a:pt x="409" y="1477"/>
                        <a:pt x="409" y="1471"/>
                      </a:cubicBezTo>
                      <a:close/>
                      <a:moveTo>
                        <a:pt x="742" y="1471"/>
                      </a:moveTo>
                      <a:cubicBezTo>
                        <a:pt x="742" y="1197"/>
                        <a:pt x="742" y="1197"/>
                        <a:pt x="742" y="1197"/>
                      </a:cubicBezTo>
                      <a:cubicBezTo>
                        <a:pt x="742" y="1191"/>
                        <a:pt x="737" y="1187"/>
                        <a:pt x="732" y="1187"/>
                      </a:cubicBezTo>
                      <a:cubicBezTo>
                        <a:pt x="459" y="1187"/>
                        <a:pt x="459" y="1187"/>
                        <a:pt x="459" y="1187"/>
                      </a:cubicBezTo>
                      <a:cubicBezTo>
                        <a:pt x="453" y="1187"/>
                        <a:pt x="449" y="1191"/>
                        <a:pt x="449" y="1197"/>
                      </a:cubicBezTo>
                      <a:cubicBezTo>
                        <a:pt x="449" y="1471"/>
                        <a:pt x="449" y="1471"/>
                        <a:pt x="449" y="1471"/>
                      </a:cubicBezTo>
                      <a:cubicBezTo>
                        <a:pt x="449" y="1477"/>
                        <a:pt x="453" y="1481"/>
                        <a:pt x="459" y="1481"/>
                      </a:cubicBezTo>
                      <a:cubicBezTo>
                        <a:pt x="732" y="1481"/>
                        <a:pt x="732" y="1481"/>
                        <a:pt x="732" y="1481"/>
                      </a:cubicBezTo>
                      <a:cubicBezTo>
                        <a:pt x="737" y="1481"/>
                        <a:pt x="742" y="1477"/>
                        <a:pt x="742" y="1471"/>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40" name="Group 39">
            <a:extLst>
              <a:ext uri="{FF2B5EF4-FFF2-40B4-BE49-F238E27FC236}">
                <a16:creationId xmlns:a16="http://schemas.microsoft.com/office/drawing/2014/main" id="{EE007340-F768-484B-9180-AC2A8C556897}"/>
              </a:ext>
            </a:extLst>
          </p:cNvPr>
          <p:cNvGrpSpPr/>
          <p:nvPr/>
        </p:nvGrpSpPr>
        <p:grpSpPr>
          <a:xfrm>
            <a:off x="2365754" y="1591357"/>
            <a:ext cx="1589688" cy="2197598"/>
            <a:chOff x="2347423" y="1591357"/>
            <a:chExt cx="1589688" cy="2197598"/>
          </a:xfrm>
        </p:grpSpPr>
        <p:grpSp>
          <p:nvGrpSpPr>
            <p:cNvPr id="16" name="Group 15">
              <a:extLst>
                <a:ext uri="{FF2B5EF4-FFF2-40B4-BE49-F238E27FC236}">
                  <a16:creationId xmlns:a16="http://schemas.microsoft.com/office/drawing/2014/main" id="{0D09775C-834F-44F6-B646-5440A6E9075F}"/>
                </a:ext>
              </a:extLst>
            </p:cNvPr>
            <p:cNvGrpSpPr>
              <a:grpSpLocks/>
            </p:cNvGrpSpPr>
            <p:nvPr/>
          </p:nvGrpSpPr>
          <p:grpSpPr>
            <a:xfrm>
              <a:off x="2452214" y="1591357"/>
              <a:ext cx="1380106" cy="1096604"/>
              <a:chOff x="2903302" y="1906042"/>
              <a:chExt cx="1840142" cy="1462139"/>
            </a:xfrm>
          </p:grpSpPr>
          <p:grpSp>
            <p:nvGrpSpPr>
              <p:cNvPr id="17" name="Group 16">
                <a:extLst>
                  <a:ext uri="{FF2B5EF4-FFF2-40B4-BE49-F238E27FC236}">
                    <a16:creationId xmlns:a16="http://schemas.microsoft.com/office/drawing/2014/main" id="{89880B80-FA51-4C6B-9F60-7E1C5A745BE0}"/>
                  </a:ext>
                </a:extLst>
              </p:cNvPr>
              <p:cNvGrpSpPr/>
              <p:nvPr/>
            </p:nvGrpSpPr>
            <p:grpSpPr>
              <a:xfrm>
                <a:off x="2903302" y="1906042"/>
                <a:ext cx="1840142" cy="1462138"/>
                <a:chOff x="3031532" y="1906042"/>
                <a:chExt cx="1840142" cy="1462138"/>
              </a:xfrm>
            </p:grpSpPr>
            <p:grpSp>
              <p:nvGrpSpPr>
                <p:cNvPr id="19" name="Group 18">
                  <a:extLst>
                    <a:ext uri="{FF2B5EF4-FFF2-40B4-BE49-F238E27FC236}">
                      <a16:creationId xmlns:a16="http://schemas.microsoft.com/office/drawing/2014/main" id="{3F029671-6B83-497F-9162-263DD288D443}"/>
                    </a:ext>
                  </a:extLst>
                </p:cNvPr>
                <p:cNvGrpSpPr/>
                <p:nvPr/>
              </p:nvGrpSpPr>
              <p:grpSpPr>
                <a:xfrm>
                  <a:off x="3426977" y="1906042"/>
                  <a:ext cx="1049253" cy="1206903"/>
                  <a:chOff x="3555292" y="1733086"/>
                  <a:chExt cx="1049253" cy="1206903"/>
                </a:xfrm>
              </p:grpSpPr>
              <p:sp>
                <p:nvSpPr>
                  <p:cNvPr id="21" name="Arc 20">
                    <a:extLst>
                      <a:ext uri="{FF2B5EF4-FFF2-40B4-BE49-F238E27FC236}">
                        <a16:creationId xmlns:a16="http://schemas.microsoft.com/office/drawing/2014/main" id="{E828AE11-3672-4352-8EC2-098C27BCC6F5}"/>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22" name="Arc 21">
                    <a:extLst>
                      <a:ext uri="{FF2B5EF4-FFF2-40B4-BE49-F238E27FC236}">
                        <a16:creationId xmlns:a16="http://schemas.microsoft.com/office/drawing/2014/main" id="{71A3FF17-C80F-45A2-ACE8-98CF10F242A3}"/>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20" name="Straight Connector 19">
                  <a:extLst>
                    <a:ext uri="{FF2B5EF4-FFF2-40B4-BE49-F238E27FC236}">
                      <a16:creationId xmlns:a16="http://schemas.microsoft.com/office/drawing/2014/main" id="{47A2FBB4-DF58-4C9B-9590-48E393A25D32}"/>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5AD0106B-EE13-4558-8F14-789390497261}"/>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69" name="ee4pContent1">
              <a:extLst>
                <a:ext uri="{FF2B5EF4-FFF2-40B4-BE49-F238E27FC236}">
                  <a16:creationId xmlns:a16="http://schemas.microsoft.com/office/drawing/2014/main" id="{9A00952C-13C1-43CC-B5AF-E2E4B9D9CC0F}"/>
                </a:ext>
              </a:extLst>
            </p:cNvPr>
            <p:cNvSpPr txBox="1"/>
            <p:nvPr/>
          </p:nvSpPr>
          <p:spPr>
            <a:xfrm>
              <a:off x="2347423" y="2790076"/>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American small businesses will be able to fully participate in the </a:t>
              </a:r>
              <a:r>
                <a:rPr lang="en-US" sz="1400" b="1" dirty="0">
                  <a:solidFill>
                    <a:srgbClr val="164484"/>
                  </a:solidFill>
                  <a:latin typeface="+mj-lt"/>
                </a:rPr>
                <a:t>economy</a:t>
              </a:r>
            </a:p>
          </p:txBody>
        </p:sp>
        <p:grpSp>
          <p:nvGrpSpPr>
            <p:cNvPr id="143" name="Group 142">
              <a:extLst>
                <a:ext uri="{FF2B5EF4-FFF2-40B4-BE49-F238E27FC236}">
                  <a16:creationId xmlns:a16="http://schemas.microsoft.com/office/drawing/2014/main" id="{B6DD26A0-0A30-48EE-8EEC-9610317075E3}"/>
                </a:ext>
              </a:extLst>
            </p:cNvPr>
            <p:cNvGrpSpPr>
              <a:grpSpLocks noChangeAspect="1"/>
            </p:cNvGrpSpPr>
            <p:nvPr/>
          </p:nvGrpSpPr>
          <p:grpSpPr bwMode="auto">
            <a:xfrm>
              <a:off x="2844132" y="1725841"/>
              <a:ext cx="596271" cy="596271"/>
              <a:chOff x="360" y="1230"/>
              <a:chExt cx="2376" cy="2376"/>
            </a:xfrm>
          </p:grpSpPr>
          <p:sp>
            <p:nvSpPr>
              <p:cNvPr id="144" name="AutoShape 4">
                <a:extLst>
                  <a:ext uri="{FF2B5EF4-FFF2-40B4-BE49-F238E27FC236}">
                    <a16:creationId xmlns:a16="http://schemas.microsoft.com/office/drawing/2014/main" id="{8BEAD94E-1B91-4486-8CA3-64B0913B51F7}"/>
                  </a:ext>
                </a:extLst>
              </p:cNvPr>
              <p:cNvSpPr>
                <a:spLocks noChangeAspect="1" noChangeArrowheads="1" noTextEdit="1"/>
              </p:cNvSpPr>
              <p:nvPr/>
            </p:nvSpPr>
            <p:spPr bwMode="auto">
              <a:xfrm>
                <a:off x="360" y="1230"/>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6">
                <a:extLst>
                  <a:ext uri="{FF2B5EF4-FFF2-40B4-BE49-F238E27FC236}">
                    <a16:creationId xmlns:a16="http://schemas.microsoft.com/office/drawing/2014/main" id="{81454707-CFF0-4777-848A-7374D526A656}"/>
                  </a:ext>
                </a:extLst>
              </p:cNvPr>
              <p:cNvSpPr>
                <a:spLocks noEditPoints="1"/>
              </p:cNvSpPr>
              <p:nvPr/>
            </p:nvSpPr>
            <p:spPr bwMode="auto">
              <a:xfrm>
                <a:off x="565" y="1416"/>
                <a:ext cx="1969" cy="2028"/>
              </a:xfrm>
              <a:custGeom>
                <a:avLst/>
                <a:gdLst>
                  <a:gd name="T0" fmla="*/ 791 w 828"/>
                  <a:gd name="T1" fmla="*/ 288 h 853"/>
                  <a:gd name="T2" fmla="*/ 741 w 828"/>
                  <a:gd name="T3" fmla="*/ 263 h 853"/>
                  <a:gd name="T4" fmla="*/ 729 w 828"/>
                  <a:gd name="T5" fmla="*/ 355 h 853"/>
                  <a:gd name="T6" fmla="*/ 733 w 828"/>
                  <a:gd name="T7" fmla="*/ 454 h 853"/>
                  <a:gd name="T8" fmla="*/ 666 w 828"/>
                  <a:gd name="T9" fmla="*/ 549 h 853"/>
                  <a:gd name="T10" fmla="*/ 657 w 828"/>
                  <a:gd name="T11" fmla="*/ 543 h 853"/>
                  <a:gd name="T12" fmla="*/ 669 w 828"/>
                  <a:gd name="T13" fmla="*/ 432 h 853"/>
                  <a:gd name="T14" fmla="*/ 620 w 828"/>
                  <a:gd name="T15" fmla="*/ 444 h 853"/>
                  <a:gd name="T16" fmla="*/ 510 w 828"/>
                  <a:gd name="T17" fmla="*/ 648 h 853"/>
                  <a:gd name="T18" fmla="*/ 515 w 828"/>
                  <a:gd name="T19" fmla="*/ 853 h 853"/>
                  <a:gd name="T20" fmla="*/ 702 w 828"/>
                  <a:gd name="T21" fmla="*/ 844 h 853"/>
                  <a:gd name="T22" fmla="*/ 720 w 828"/>
                  <a:gd name="T23" fmla="*/ 684 h 853"/>
                  <a:gd name="T24" fmla="*/ 815 w 828"/>
                  <a:gd name="T25" fmla="*/ 491 h 853"/>
                  <a:gd name="T26" fmla="*/ 806 w 828"/>
                  <a:gd name="T27" fmla="*/ 326 h 853"/>
                  <a:gd name="T28" fmla="*/ 176 w 828"/>
                  <a:gd name="T29" fmla="*/ 427 h 853"/>
                  <a:gd name="T30" fmla="*/ 143 w 828"/>
                  <a:gd name="T31" fmla="*/ 479 h 853"/>
                  <a:gd name="T32" fmla="*/ 166 w 828"/>
                  <a:gd name="T33" fmla="*/ 551 h 853"/>
                  <a:gd name="T34" fmla="*/ 150 w 828"/>
                  <a:gd name="T35" fmla="*/ 540 h 853"/>
                  <a:gd name="T36" fmla="*/ 94 w 828"/>
                  <a:gd name="T37" fmla="*/ 450 h 853"/>
                  <a:gd name="T38" fmla="*/ 112 w 828"/>
                  <a:gd name="T39" fmla="*/ 315 h 853"/>
                  <a:gd name="T40" fmla="*/ 74 w 828"/>
                  <a:gd name="T41" fmla="*/ 261 h 853"/>
                  <a:gd name="T42" fmla="*/ 22 w 828"/>
                  <a:gd name="T43" fmla="*/ 326 h 853"/>
                  <a:gd name="T44" fmla="*/ 13 w 828"/>
                  <a:gd name="T45" fmla="*/ 491 h 853"/>
                  <a:gd name="T46" fmla="*/ 108 w 828"/>
                  <a:gd name="T47" fmla="*/ 684 h 853"/>
                  <a:gd name="T48" fmla="*/ 126 w 828"/>
                  <a:gd name="T49" fmla="*/ 844 h 853"/>
                  <a:gd name="T50" fmla="*/ 135 w 828"/>
                  <a:gd name="T51" fmla="*/ 853 h 853"/>
                  <a:gd name="T52" fmla="*/ 317 w 828"/>
                  <a:gd name="T53" fmla="*/ 846 h 853"/>
                  <a:gd name="T54" fmla="*/ 303 w 828"/>
                  <a:gd name="T55" fmla="*/ 594 h 853"/>
                  <a:gd name="T56" fmla="*/ 414 w 828"/>
                  <a:gd name="T57" fmla="*/ 49 h 853"/>
                  <a:gd name="T58" fmla="*/ 414 w 828"/>
                  <a:gd name="T59" fmla="*/ 436 h 853"/>
                  <a:gd name="T60" fmla="*/ 414 w 828"/>
                  <a:gd name="T61" fmla="*/ 49 h 853"/>
                  <a:gd name="T62" fmla="*/ 429 w 828"/>
                  <a:gd name="T63" fmla="*/ 345 h 853"/>
                  <a:gd name="T64" fmla="*/ 396 w 828"/>
                  <a:gd name="T65" fmla="*/ 378 h 853"/>
                  <a:gd name="T66" fmla="*/ 350 w 828"/>
                  <a:gd name="T67" fmla="*/ 333 h 853"/>
                  <a:gd name="T68" fmla="*/ 407 w 828"/>
                  <a:gd name="T69" fmla="*/ 315 h 853"/>
                  <a:gd name="T70" fmla="*/ 432 w 828"/>
                  <a:gd name="T71" fmla="*/ 271 h 853"/>
                  <a:gd name="T72" fmla="*/ 368 w 828"/>
                  <a:gd name="T73" fmla="*/ 230 h 853"/>
                  <a:gd name="T74" fmla="*/ 351 w 828"/>
                  <a:gd name="T75" fmla="*/ 187 h 853"/>
                  <a:gd name="T76" fmla="*/ 396 w 828"/>
                  <a:gd name="T77" fmla="*/ 132 h 853"/>
                  <a:gd name="T78" fmla="*/ 429 w 828"/>
                  <a:gd name="T79" fmla="*/ 106 h 853"/>
                  <a:gd name="T80" fmla="*/ 468 w 828"/>
                  <a:gd name="T81" fmla="*/ 144 h 853"/>
                  <a:gd name="T82" fmla="*/ 415 w 828"/>
                  <a:gd name="T83" fmla="*/ 162 h 853"/>
                  <a:gd name="T84" fmla="*/ 388 w 828"/>
                  <a:gd name="T85" fmla="*/ 187 h 853"/>
                  <a:gd name="T86" fmla="*/ 459 w 828"/>
                  <a:gd name="T87" fmla="*/ 243 h 853"/>
                  <a:gd name="T88" fmla="*/ 478 w 828"/>
                  <a:gd name="T89" fmla="*/ 290 h 853"/>
                  <a:gd name="T90" fmla="*/ 656 w 828"/>
                  <a:gd name="T91" fmla="*/ 242 h 853"/>
                  <a:gd name="T92" fmla="*/ 172 w 828"/>
                  <a:gd name="T93" fmla="*/ 242 h 853"/>
                  <a:gd name="T94" fmla="*/ 656 w 828"/>
                  <a:gd name="T95" fmla="*/ 242 h 853"/>
                  <a:gd name="T96" fmla="*/ 196 w 828"/>
                  <a:gd name="T97" fmla="*/ 242 h 853"/>
                  <a:gd name="T98" fmla="*/ 632 w 828"/>
                  <a:gd name="T99" fmla="*/ 242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8" h="853">
                    <a:moveTo>
                      <a:pt x="806" y="326"/>
                    </a:moveTo>
                    <a:cubicBezTo>
                      <a:pt x="791" y="288"/>
                      <a:pt x="791" y="288"/>
                      <a:pt x="791" y="288"/>
                    </a:cubicBezTo>
                    <a:cubicBezTo>
                      <a:pt x="785" y="272"/>
                      <a:pt x="770" y="261"/>
                      <a:pt x="754" y="261"/>
                    </a:cubicBezTo>
                    <a:cubicBezTo>
                      <a:pt x="749" y="261"/>
                      <a:pt x="745" y="262"/>
                      <a:pt x="741" y="263"/>
                    </a:cubicBezTo>
                    <a:cubicBezTo>
                      <a:pt x="720" y="270"/>
                      <a:pt x="708" y="294"/>
                      <a:pt x="716" y="315"/>
                    </a:cubicBezTo>
                    <a:cubicBezTo>
                      <a:pt x="729" y="355"/>
                      <a:pt x="729" y="355"/>
                      <a:pt x="729" y="355"/>
                    </a:cubicBezTo>
                    <a:cubicBezTo>
                      <a:pt x="740" y="385"/>
                      <a:pt x="742" y="418"/>
                      <a:pt x="734" y="450"/>
                    </a:cubicBezTo>
                    <a:cubicBezTo>
                      <a:pt x="733" y="454"/>
                      <a:pt x="733" y="454"/>
                      <a:pt x="733" y="454"/>
                    </a:cubicBezTo>
                    <a:cubicBezTo>
                      <a:pt x="725" y="488"/>
                      <a:pt x="705" y="518"/>
                      <a:pt x="678" y="540"/>
                    </a:cubicBezTo>
                    <a:cubicBezTo>
                      <a:pt x="666" y="549"/>
                      <a:pt x="666" y="549"/>
                      <a:pt x="666" y="549"/>
                    </a:cubicBezTo>
                    <a:cubicBezTo>
                      <a:pt x="664" y="550"/>
                      <a:pt x="663" y="551"/>
                      <a:pt x="662" y="551"/>
                    </a:cubicBezTo>
                    <a:cubicBezTo>
                      <a:pt x="659" y="551"/>
                      <a:pt x="655" y="547"/>
                      <a:pt x="657" y="543"/>
                    </a:cubicBezTo>
                    <a:cubicBezTo>
                      <a:pt x="685" y="479"/>
                      <a:pt x="685" y="479"/>
                      <a:pt x="685" y="479"/>
                    </a:cubicBezTo>
                    <a:cubicBezTo>
                      <a:pt x="693" y="462"/>
                      <a:pt x="686" y="441"/>
                      <a:pt x="669" y="432"/>
                    </a:cubicBezTo>
                    <a:cubicBezTo>
                      <a:pt x="664" y="428"/>
                      <a:pt x="657" y="427"/>
                      <a:pt x="652" y="427"/>
                    </a:cubicBezTo>
                    <a:cubicBezTo>
                      <a:pt x="639" y="427"/>
                      <a:pt x="627" y="433"/>
                      <a:pt x="620" y="444"/>
                    </a:cubicBezTo>
                    <a:cubicBezTo>
                      <a:pt x="525" y="594"/>
                      <a:pt x="525" y="594"/>
                      <a:pt x="525" y="594"/>
                    </a:cubicBezTo>
                    <a:cubicBezTo>
                      <a:pt x="515" y="610"/>
                      <a:pt x="510" y="629"/>
                      <a:pt x="510" y="648"/>
                    </a:cubicBezTo>
                    <a:cubicBezTo>
                      <a:pt x="511" y="846"/>
                      <a:pt x="511" y="846"/>
                      <a:pt x="511" y="846"/>
                    </a:cubicBezTo>
                    <a:cubicBezTo>
                      <a:pt x="511" y="848"/>
                      <a:pt x="512" y="852"/>
                      <a:pt x="515" y="853"/>
                    </a:cubicBezTo>
                    <a:cubicBezTo>
                      <a:pt x="693" y="853"/>
                      <a:pt x="693" y="853"/>
                      <a:pt x="693" y="853"/>
                    </a:cubicBezTo>
                    <a:cubicBezTo>
                      <a:pt x="698" y="853"/>
                      <a:pt x="702" y="849"/>
                      <a:pt x="702" y="844"/>
                    </a:cubicBezTo>
                    <a:cubicBezTo>
                      <a:pt x="702" y="732"/>
                      <a:pt x="702" y="732"/>
                      <a:pt x="702" y="732"/>
                    </a:cubicBezTo>
                    <a:cubicBezTo>
                      <a:pt x="704" y="715"/>
                      <a:pt x="710" y="699"/>
                      <a:pt x="720" y="684"/>
                    </a:cubicBezTo>
                    <a:cubicBezTo>
                      <a:pt x="758" y="627"/>
                      <a:pt x="758" y="627"/>
                      <a:pt x="758" y="627"/>
                    </a:cubicBezTo>
                    <a:cubicBezTo>
                      <a:pt x="785" y="585"/>
                      <a:pt x="805" y="539"/>
                      <a:pt x="815" y="491"/>
                    </a:cubicBezTo>
                    <a:cubicBezTo>
                      <a:pt x="817" y="483"/>
                      <a:pt x="817" y="483"/>
                      <a:pt x="817" y="483"/>
                    </a:cubicBezTo>
                    <a:cubicBezTo>
                      <a:pt x="828" y="431"/>
                      <a:pt x="824" y="377"/>
                      <a:pt x="806" y="326"/>
                    </a:cubicBezTo>
                    <a:close/>
                    <a:moveTo>
                      <a:pt x="208" y="444"/>
                    </a:moveTo>
                    <a:cubicBezTo>
                      <a:pt x="201" y="433"/>
                      <a:pt x="189" y="427"/>
                      <a:pt x="176" y="427"/>
                    </a:cubicBezTo>
                    <a:cubicBezTo>
                      <a:pt x="171" y="427"/>
                      <a:pt x="164" y="428"/>
                      <a:pt x="159" y="432"/>
                    </a:cubicBezTo>
                    <a:cubicBezTo>
                      <a:pt x="142" y="441"/>
                      <a:pt x="135" y="462"/>
                      <a:pt x="143" y="479"/>
                    </a:cubicBezTo>
                    <a:cubicBezTo>
                      <a:pt x="171" y="543"/>
                      <a:pt x="171" y="543"/>
                      <a:pt x="171" y="543"/>
                    </a:cubicBezTo>
                    <a:cubicBezTo>
                      <a:pt x="173" y="547"/>
                      <a:pt x="169" y="551"/>
                      <a:pt x="166" y="551"/>
                    </a:cubicBezTo>
                    <a:cubicBezTo>
                      <a:pt x="165" y="551"/>
                      <a:pt x="164" y="550"/>
                      <a:pt x="162" y="549"/>
                    </a:cubicBezTo>
                    <a:cubicBezTo>
                      <a:pt x="150" y="540"/>
                      <a:pt x="150" y="540"/>
                      <a:pt x="150" y="540"/>
                    </a:cubicBezTo>
                    <a:cubicBezTo>
                      <a:pt x="123" y="518"/>
                      <a:pt x="103" y="488"/>
                      <a:pt x="95" y="454"/>
                    </a:cubicBezTo>
                    <a:cubicBezTo>
                      <a:pt x="94" y="450"/>
                      <a:pt x="94" y="450"/>
                      <a:pt x="94" y="450"/>
                    </a:cubicBezTo>
                    <a:cubicBezTo>
                      <a:pt x="86" y="418"/>
                      <a:pt x="88" y="385"/>
                      <a:pt x="99" y="355"/>
                    </a:cubicBezTo>
                    <a:cubicBezTo>
                      <a:pt x="112" y="315"/>
                      <a:pt x="112" y="315"/>
                      <a:pt x="112" y="315"/>
                    </a:cubicBezTo>
                    <a:cubicBezTo>
                      <a:pt x="120" y="294"/>
                      <a:pt x="108" y="270"/>
                      <a:pt x="87" y="263"/>
                    </a:cubicBezTo>
                    <a:cubicBezTo>
                      <a:pt x="83" y="262"/>
                      <a:pt x="79" y="261"/>
                      <a:pt x="74" y="261"/>
                    </a:cubicBezTo>
                    <a:cubicBezTo>
                      <a:pt x="58" y="261"/>
                      <a:pt x="43" y="272"/>
                      <a:pt x="37" y="288"/>
                    </a:cubicBezTo>
                    <a:cubicBezTo>
                      <a:pt x="22" y="326"/>
                      <a:pt x="22" y="326"/>
                      <a:pt x="22" y="326"/>
                    </a:cubicBezTo>
                    <a:cubicBezTo>
                      <a:pt x="4" y="377"/>
                      <a:pt x="0" y="431"/>
                      <a:pt x="11" y="483"/>
                    </a:cubicBezTo>
                    <a:cubicBezTo>
                      <a:pt x="13" y="491"/>
                      <a:pt x="13" y="491"/>
                      <a:pt x="13" y="491"/>
                    </a:cubicBezTo>
                    <a:cubicBezTo>
                      <a:pt x="23" y="539"/>
                      <a:pt x="43" y="585"/>
                      <a:pt x="70" y="627"/>
                    </a:cubicBezTo>
                    <a:cubicBezTo>
                      <a:pt x="108" y="684"/>
                      <a:pt x="108" y="684"/>
                      <a:pt x="108" y="684"/>
                    </a:cubicBezTo>
                    <a:cubicBezTo>
                      <a:pt x="118" y="699"/>
                      <a:pt x="124" y="715"/>
                      <a:pt x="126" y="732"/>
                    </a:cubicBezTo>
                    <a:cubicBezTo>
                      <a:pt x="126" y="844"/>
                      <a:pt x="126" y="844"/>
                      <a:pt x="126" y="844"/>
                    </a:cubicBezTo>
                    <a:cubicBezTo>
                      <a:pt x="126" y="849"/>
                      <a:pt x="130" y="853"/>
                      <a:pt x="135" y="853"/>
                    </a:cubicBezTo>
                    <a:cubicBezTo>
                      <a:pt x="135" y="853"/>
                      <a:pt x="135" y="853"/>
                      <a:pt x="135" y="853"/>
                    </a:cubicBezTo>
                    <a:cubicBezTo>
                      <a:pt x="313" y="853"/>
                      <a:pt x="313" y="853"/>
                      <a:pt x="313" y="853"/>
                    </a:cubicBezTo>
                    <a:cubicBezTo>
                      <a:pt x="316" y="852"/>
                      <a:pt x="317" y="848"/>
                      <a:pt x="317" y="846"/>
                    </a:cubicBezTo>
                    <a:cubicBezTo>
                      <a:pt x="318" y="648"/>
                      <a:pt x="318" y="648"/>
                      <a:pt x="318" y="648"/>
                    </a:cubicBezTo>
                    <a:cubicBezTo>
                      <a:pt x="318" y="629"/>
                      <a:pt x="313" y="610"/>
                      <a:pt x="303" y="594"/>
                    </a:cubicBezTo>
                    <a:cubicBezTo>
                      <a:pt x="208" y="444"/>
                      <a:pt x="208" y="444"/>
                      <a:pt x="208" y="444"/>
                    </a:cubicBezTo>
                    <a:close/>
                    <a:moveTo>
                      <a:pt x="414" y="49"/>
                    </a:moveTo>
                    <a:cubicBezTo>
                      <a:pt x="307" y="49"/>
                      <a:pt x="220" y="136"/>
                      <a:pt x="220" y="242"/>
                    </a:cubicBezTo>
                    <a:cubicBezTo>
                      <a:pt x="220" y="349"/>
                      <a:pt x="307" y="436"/>
                      <a:pt x="414" y="436"/>
                    </a:cubicBezTo>
                    <a:cubicBezTo>
                      <a:pt x="521" y="436"/>
                      <a:pt x="608" y="349"/>
                      <a:pt x="608" y="242"/>
                    </a:cubicBezTo>
                    <a:cubicBezTo>
                      <a:pt x="608" y="136"/>
                      <a:pt x="521" y="49"/>
                      <a:pt x="414" y="49"/>
                    </a:cubicBezTo>
                    <a:close/>
                    <a:moveTo>
                      <a:pt x="465" y="325"/>
                    </a:moveTo>
                    <a:cubicBezTo>
                      <a:pt x="456" y="335"/>
                      <a:pt x="444" y="341"/>
                      <a:pt x="429" y="345"/>
                    </a:cubicBezTo>
                    <a:cubicBezTo>
                      <a:pt x="429" y="378"/>
                      <a:pt x="429" y="378"/>
                      <a:pt x="429" y="378"/>
                    </a:cubicBezTo>
                    <a:cubicBezTo>
                      <a:pt x="396" y="378"/>
                      <a:pt x="396" y="378"/>
                      <a:pt x="396" y="378"/>
                    </a:cubicBezTo>
                    <a:cubicBezTo>
                      <a:pt x="396" y="348"/>
                      <a:pt x="396" y="348"/>
                      <a:pt x="396" y="348"/>
                    </a:cubicBezTo>
                    <a:cubicBezTo>
                      <a:pt x="379" y="347"/>
                      <a:pt x="364" y="342"/>
                      <a:pt x="350" y="333"/>
                    </a:cubicBezTo>
                    <a:cubicBezTo>
                      <a:pt x="364" y="299"/>
                      <a:pt x="364" y="299"/>
                      <a:pt x="364" y="299"/>
                    </a:cubicBezTo>
                    <a:cubicBezTo>
                      <a:pt x="379" y="310"/>
                      <a:pt x="393" y="315"/>
                      <a:pt x="407" y="315"/>
                    </a:cubicBezTo>
                    <a:cubicBezTo>
                      <a:pt x="429" y="315"/>
                      <a:pt x="440" y="307"/>
                      <a:pt x="440" y="292"/>
                    </a:cubicBezTo>
                    <a:cubicBezTo>
                      <a:pt x="440" y="285"/>
                      <a:pt x="438" y="277"/>
                      <a:pt x="432" y="271"/>
                    </a:cubicBezTo>
                    <a:cubicBezTo>
                      <a:pt x="427" y="264"/>
                      <a:pt x="416" y="257"/>
                      <a:pt x="400" y="249"/>
                    </a:cubicBezTo>
                    <a:cubicBezTo>
                      <a:pt x="384" y="241"/>
                      <a:pt x="374" y="235"/>
                      <a:pt x="368" y="230"/>
                    </a:cubicBezTo>
                    <a:cubicBezTo>
                      <a:pt x="362" y="224"/>
                      <a:pt x="358" y="218"/>
                      <a:pt x="355" y="211"/>
                    </a:cubicBezTo>
                    <a:cubicBezTo>
                      <a:pt x="352" y="204"/>
                      <a:pt x="351" y="196"/>
                      <a:pt x="351" y="187"/>
                    </a:cubicBezTo>
                    <a:cubicBezTo>
                      <a:pt x="351" y="174"/>
                      <a:pt x="355" y="163"/>
                      <a:pt x="363" y="152"/>
                    </a:cubicBezTo>
                    <a:cubicBezTo>
                      <a:pt x="371" y="142"/>
                      <a:pt x="382" y="136"/>
                      <a:pt x="396" y="132"/>
                    </a:cubicBezTo>
                    <a:cubicBezTo>
                      <a:pt x="396" y="106"/>
                      <a:pt x="396" y="106"/>
                      <a:pt x="396" y="106"/>
                    </a:cubicBezTo>
                    <a:cubicBezTo>
                      <a:pt x="429" y="106"/>
                      <a:pt x="429" y="106"/>
                      <a:pt x="429" y="106"/>
                    </a:cubicBezTo>
                    <a:cubicBezTo>
                      <a:pt x="429" y="131"/>
                      <a:pt x="429" y="131"/>
                      <a:pt x="429" y="131"/>
                    </a:cubicBezTo>
                    <a:cubicBezTo>
                      <a:pt x="446" y="133"/>
                      <a:pt x="460" y="137"/>
                      <a:pt x="468" y="144"/>
                    </a:cubicBezTo>
                    <a:cubicBezTo>
                      <a:pt x="457" y="176"/>
                      <a:pt x="457" y="176"/>
                      <a:pt x="457" y="176"/>
                    </a:cubicBezTo>
                    <a:cubicBezTo>
                      <a:pt x="444" y="166"/>
                      <a:pt x="430" y="162"/>
                      <a:pt x="415" y="162"/>
                    </a:cubicBezTo>
                    <a:cubicBezTo>
                      <a:pt x="406" y="162"/>
                      <a:pt x="400" y="164"/>
                      <a:pt x="395" y="169"/>
                    </a:cubicBezTo>
                    <a:cubicBezTo>
                      <a:pt x="390" y="174"/>
                      <a:pt x="388" y="180"/>
                      <a:pt x="388" y="187"/>
                    </a:cubicBezTo>
                    <a:cubicBezTo>
                      <a:pt x="388" y="199"/>
                      <a:pt x="401" y="211"/>
                      <a:pt x="428" y="224"/>
                    </a:cubicBezTo>
                    <a:cubicBezTo>
                      <a:pt x="442" y="231"/>
                      <a:pt x="452" y="237"/>
                      <a:pt x="459" y="243"/>
                    </a:cubicBezTo>
                    <a:cubicBezTo>
                      <a:pt x="465" y="249"/>
                      <a:pt x="470" y="256"/>
                      <a:pt x="473" y="264"/>
                    </a:cubicBezTo>
                    <a:cubicBezTo>
                      <a:pt x="476" y="271"/>
                      <a:pt x="478" y="280"/>
                      <a:pt x="478" y="290"/>
                    </a:cubicBezTo>
                    <a:cubicBezTo>
                      <a:pt x="478" y="303"/>
                      <a:pt x="473" y="314"/>
                      <a:pt x="465" y="325"/>
                    </a:cubicBezTo>
                    <a:close/>
                    <a:moveTo>
                      <a:pt x="656" y="242"/>
                    </a:moveTo>
                    <a:cubicBezTo>
                      <a:pt x="656" y="109"/>
                      <a:pt x="547" y="0"/>
                      <a:pt x="414" y="0"/>
                    </a:cubicBezTo>
                    <a:cubicBezTo>
                      <a:pt x="280" y="0"/>
                      <a:pt x="172" y="109"/>
                      <a:pt x="172" y="242"/>
                    </a:cubicBezTo>
                    <a:cubicBezTo>
                      <a:pt x="172" y="376"/>
                      <a:pt x="280" y="484"/>
                      <a:pt x="414" y="484"/>
                    </a:cubicBezTo>
                    <a:cubicBezTo>
                      <a:pt x="547" y="484"/>
                      <a:pt x="656" y="376"/>
                      <a:pt x="656" y="242"/>
                    </a:cubicBezTo>
                    <a:close/>
                    <a:moveTo>
                      <a:pt x="414" y="460"/>
                    </a:moveTo>
                    <a:cubicBezTo>
                      <a:pt x="294" y="460"/>
                      <a:pt x="196" y="362"/>
                      <a:pt x="196" y="242"/>
                    </a:cubicBezTo>
                    <a:cubicBezTo>
                      <a:pt x="196" y="122"/>
                      <a:pt x="294" y="25"/>
                      <a:pt x="414" y="25"/>
                    </a:cubicBezTo>
                    <a:cubicBezTo>
                      <a:pt x="534" y="25"/>
                      <a:pt x="632" y="122"/>
                      <a:pt x="632" y="242"/>
                    </a:cubicBezTo>
                    <a:cubicBezTo>
                      <a:pt x="632" y="362"/>
                      <a:pt x="534" y="460"/>
                      <a:pt x="414" y="46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4" name="Group 43">
            <a:extLst>
              <a:ext uri="{FF2B5EF4-FFF2-40B4-BE49-F238E27FC236}">
                <a16:creationId xmlns:a16="http://schemas.microsoft.com/office/drawing/2014/main" id="{B212CC95-D756-4DB8-AF26-71309EEDF570}"/>
              </a:ext>
            </a:extLst>
          </p:cNvPr>
          <p:cNvGrpSpPr/>
          <p:nvPr/>
        </p:nvGrpSpPr>
        <p:grpSpPr>
          <a:xfrm>
            <a:off x="1438102" y="4053585"/>
            <a:ext cx="1589688" cy="2177235"/>
            <a:chOff x="525209" y="3908111"/>
            <a:chExt cx="1589688" cy="2177235"/>
          </a:xfrm>
        </p:grpSpPr>
        <p:sp>
          <p:nvSpPr>
            <p:cNvPr id="74" name="ee4pContent1">
              <a:extLst>
                <a:ext uri="{FF2B5EF4-FFF2-40B4-BE49-F238E27FC236}">
                  <a16:creationId xmlns:a16="http://schemas.microsoft.com/office/drawing/2014/main" id="{8A491BC8-095B-4DBF-9F7F-C9F6ECC4AC65}"/>
                </a:ext>
              </a:extLst>
            </p:cNvPr>
            <p:cNvSpPr txBox="1"/>
            <p:nvPr/>
          </p:nvSpPr>
          <p:spPr>
            <a:xfrm>
              <a:off x="525209" y="5086467"/>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None/>
              </a:pPr>
              <a:r>
                <a:rPr lang="en-US" sz="1400" b="1" dirty="0">
                  <a:solidFill>
                    <a:srgbClr val="164484"/>
                  </a:solidFill>
                  <a:latin typeface="+mj-lt"/>
                </a:rPr>
                <a:t>Consumers</a:t>
              </a:r>
              <a:r>
                <a:rPr lang="en-US" sz="1400" dirty="0">
                  <a:solidFill>
                    <a:srgbClr val="000000"/>
                  </a:solidFill>
                  <a:latin typeface="+mj-lt"/>
                </a:rPr>
                <a:t> will have more purchasing options</a:t>
              </a:r>
            </a:p>
          </p:txBody>
        </p:sp>
        <p:grpSp>
          <p:nvGrpSpPr>
            <p:cNvPr id="82" name="Group 81">
              <a:extLst>
                <a:ext uri="{FF2B5EF4-FFF2-40B4-BE49-F238E27FC236}">
                  <a16:creationId xmlns:a16="http://schemas.microsoft.com/office/drawing/2014/main" id="{9166C38B-02F6-421C-ADA4-299A329FC0F0}"/>
                </a:ext>
              </a:extLst>
            </p:cNvPr>
            <p:cNvGrpSpPr>
              <a:grpSpLocks/>
            </p:cNvGrpSpPr>
            <p:nvPr/>
          </p:nvGrpSpPr>
          <p:grpSpPr>
            <a:xfrm>
              <a:off x="630000" y="3908111"/>
              <a:ext cx="1380106" cy="1131605"/>
              <a:chOff x="630000" y="1859374"/>
              <a:chExt cx="1840142" cy="1508807"/>
            </a:xfrm>
          </p:grpSpPr>
          <p:grpSp>
            <p:nvGrpSpPr>
              <p:cNvPr id="83" name="Group 82">
                <a:extLst>
                  <a:ext uri="{FF2B5EF4-FFF2-40B4-BE49-F238E27FC236}">
                    <a16:creationId xmlns:a16="http://schemas.microsoft.com/office/drawing/2014/main" id="{D6D106B4-317D-472B-BD28-AE092F858378}"/>
                  </a:ext>
                </a:extLst>
              </p:cNvPr>
              <p:cNvGrpSpPr/>
              <p:nvPr/>
            </p:nvGrpSpPr>
            <p:grpSpPr>
              <a:xfrm>
                <a:off x="630000" y="1859374"/>
                <a:ext cx="1840142" cy="1508806"/>
                <a:chOff x="630001" y="1859374"/>
                <a:chExt cx="1840142" cy="1508806"/>
              </a:xfrm>
            </p:grpSpPr>
            <p:sp>
              <p:nvSpPr>
                <p:cNvPr id="85" name="Arc 84">
                  <a:extLst>
                    <a:ext uri="{FF2B5EF4-FFF2-40B4-BE49-F238E27FC236}">
                      <a16:creationId xmlns:a16="http://schemas.microsoft.com/office/drawing/2014/main" id="{5AC75F9E-10BF-4BF5-B44C-53D86B99E208}"/>
                    </a:ext>
                  </a:extLst>
                </p:cNvPr>
                <p:cNvSpPr/>
                <p:nvPr/>
              </p:nvSpPr>
              <p:spPr>
                <a:xfrm>
                  <a:off x="959938" y="1859374"/>
                  <a:ext cx="1206964" cy="1206964"/>
                </a:xfrm>
                <a:prstGeom prst="arc">
                  <a:avLst>
                    <a:gd name="adj1" fmla="val 5449192"/>
                    <a:gd name="adj2" fmla="val 19057055"/>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cxnSp>
              <p:nvCxnSpPr>
                <p:cNvPr id="86" name="Straight Connector 85">
                  <a:extLst>
                    <a:ext uri="{FF2B5EF4-FFF2-40B4-BE49-F238E27FC236}">
                      <a16:creationId xmlns:a16="http://schemas.microsoft.com/office/drawing/2014/main" id="{D957ACE4-78B5-47CB-9478-CF45FCF4AD93}"/>
                    </a:ext>
                  </a:extLst>
                </p:cNvPr>
                <p:cNvCxnSpPr/>
                <p:nvPr/>
              </p:nvCxnSpPr>
              <p:spPr>
                <a:xfrm>
                  <a:off x="630001"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84" name="Straight Connector 83">
                <a:extLst>
                  <a:ext uri="{FF2B5EF4-FFF2-40B4-BE49-F238E27FC236}">
                    <a16:creationId xmlns:a16="http://schemas.microsoft.com/office/drawing/2014/main" id="{0004FA15-1E1E-45A7-B916-A9CB8E6EF1DC}"/>
                  </a:ext>
                </a:extLst>
              </p:cNvPr>
              <p:cNvCxnSpPr/>
              <p:nvPr/>
            </p:nvCxnSpPr>
            <p:spPr>
              <a:xfrm>
                <a:off x="1543766"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grpSp>
          <p:nvGrpSpPr>
            <p:cNvPr id="146" name="bcgBugs_ShoppingCart">
              <a:extLst>
                <a:ext uri="{FF2B5EF4-FFF2-40B4-BE49-F238E27FC236}">
                  <a16:creationId xmlns:a16="http://schemas.microsoft.com/office/drawing/2014/main" id="{60AC9A2B-97C2-45B8-B53C-35F0F818C56E}"/>
                </a:ext>
              </a:extLst>
            </p:cNvPr>
            <p:cNvGrpSpPr>
              <a:grpSpLocks noChangeAspect="1"/>
            </p:cNvGrpSpPr>
            <p:nvPr/>
          </p:nvGrpSpPr>
          <p:grpSpPr bwMode="auto">
            <a:xfrm>
              <a:off x="985504" y="4056983"/>
              <a:ext cx="595688" cy="596271"/>
              <a:chOff x="2818" y="1137"/>
              <a:chExt cx="2044" cy="2046"/>
            </a:xfrm>
          </p:grpSpPr>
          <p:sp>
            <p:nvSpPr>
              <p:cNvPr id="147" name="AutoShape 3">
                <a:extLst>
                  <a:ext uri="{FF2B5EF4-FFF2-40B4-BE49-F238E27FC236}">
                    <a16:creationId xmlns:a16="http://schemas.microsoft.com/office/drawing/2014/main" id="{D084C65D-7ECA-4886-9B4E-00CE0C159EE9}"/>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7">
                <a:extLst>
                  <a:ext uri="{FF2B5EF4-FFF2-40B4-BE49-F238E27FC236}">
                    <a16:creationId xmlns:a16="http://schemas.microsoft.com/office/drawing/2014/main" id="{7290E24F-27F6-4522-B78E-0FDFB14D5E4D}"/>
                  </a:ext>
                </a:extLst>
              </p:cNvPr>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5" name="Group 44">
            <a:extLst>
              <a:ext uri="{FF2B5EF4-FFF2-40B4-BE49-F238E27FC236}">
                <a16:creationId xmlns:a16="http://schemas.microsoft.com/office/drawing/2014/main" id="{8CA4CC50-F39B-4C20-9BF2-97F8430A1CB6}"/>
              </a:ext>
            </a:extLst>
          </p:cNvPr>
          <p:cNvGrpSpPr/>
          <p:nvPr/>
        </p:nvGrpSpPr>
        <p:grpSpPr>
          <a:xfrm>
            <a:off x="3276384" y="4053585"/>
            <a:ext cx="1589688" cy="2177235"/>
            <a:chOff x="2343851" y="3908111"/>
            <a:chExt cx="1589688" cy="2177235"/>
          </a:xfrm>
        </p:grpSpPr>
        <p:grpSp>
          <p:nvGrpSpPr>
            <p:cNvPr id="75" name="Group 74">
              <a:extLst>
                <a:ext uri="{FF2B5EF4-FFF2-40B4-BE49-F238E27FC236}">
                  <a16:creationId xmlns:a16="http://schemas.microsoft.com/office/drawing/2014/main" id="{944606B5-2018-4590-A715-289A0DD2ABA7}"/>
                </a:ext>
              </a:extLst>
            </p:cNvPr>
            <p:cNvGrpSpPr>
              <a:grpSpLocks/>
            </p:cNvGrpSpPr>
            <p:nvPr/>
          </p:nvGrpSpPr>
          <p:grpSpPr>
            <a:xfrm>
              <a:off x="2448642" y="3908111"/>
              <a:ext cx="1380106" cy="1096604"/>
              <a:chOff x="2903302" y="1906042"/>
              <a:chExt cx="1840142" cy="1462139"/>
            </a:xfrm>
          </p:grpSpPr>
          <p:grpSp>
            <p:nvGrpSpPr>
              <p:cNvPr id="76" name="Group 75">
                <a:extLst>
                  <a:ext uri="{FF2B5EF4-FFF2-40B4-BE49-F238E27FC236}">
                    <a16:creationId xmlns:a16="http://schemas.microsoft.com/office/drawing/2014/main" id="{1E4CAEE6-FE06-4161-BBD3-EB4D69B8EEDD}"/>
                  </a:ext>
                </a:extLst>
              </p:cNvPr>
              <p:cNvGrpSpPr/>
              <p:nvPr/>
            </p:nvGrpSpPr>
            <p:grpSpPr>
              <a:xfrm>
                <a:off x="2903302" y="1906042"/>
                <a:ext cx="1840142" cy="1462138"/>
                <a:chOff x="3031532" y="1906042"/>
                <a:chExt cx="1840142" cy="1462138"/>
              </a:xfrm>
            </p:grpSpPr>
            <p:grpSp>
              <p:nvGrpSpPr>
                <p:cNvPr id="78" name="Group 77">
                  <a:extLst>
                    <a:ext uri="{FF2B5EF4-FFF2-40B4-BE49-F238E27FC236}">
                      <a16:creationId xmlns:a16="http://schemas.microsoft.com/office/drawing/2014/main" id="{C1AB0DC2-8F36-4054-A0A5-14BFB9FC07DD}"/>
                    </a:ext>
                  </a:extLst>
                </p:cNvPr>
                <p:cNvGrpSpPr/>
                <p:nvPr/>
              </p:nvGrpSpPr>
              <p:grpSpPr>
                <a:xfrm>
                  <a:off x="3426977" y="1906042"/>
                  <a:ext cx="1049253" cy="1206903"/>
                  <a:chOff x="3555292" y="1733086"/>
                  <a:chExt cx="1049253" cy="1206903"/>
                </a:xfrm>
              </p:grpSpPr>
              <p:sp>
                <p:nvSpPr>
                  <p:cNvPr id="80" name="Arc 79">
                    <a:extLst>
                      <a:ext uri="{FF2B5EF4-FFF2-40B4-BE49-F238E27FC236}">
                        <a16:creationId xmlns:a16="http://schemas.microsoft.com/office/drawing/2014/main" id="{C3696D65-5E52-47EA-96B9-406ACCE8184B}"/>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81" name="Arc 80">
                    <a:extLst>
                      <a:ext uri="{FF2B5EF4-FFF2-40B4-BE49-F238E27FC236}">
                        <a16:creationId xmlns:a16="http://schemas.microsoft.com/office/drawing/2014/main" id="{BEED27FB-8C02-47B5-981F-024D5D6B292E}"/>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79" name="Straight Connector 78">
                  <a:extLst>
                    <a:ext uri="{FF2B5EF4-FFF2-40B4-BE49-F238E27FC236}">
                      <a16:creationId xmlns:a16="http://schemas.microsoft.com/office/drawing/2014/main" id="{E4F29F60-6FDA-458A-86D1-FEB16BE15D88}"/>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8E393FBA-7426-4879-96AB-D0C54A3B6D09}"/>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113" name="ee4pContent1">
              <a:extLst>
                <a:ext uri="{FF2B5EF4-FFF2-40B4-BE49-F238E27FC236}">
                  <a16:creationId xmlns:a16="http://schemas.microsoft.com/office/drawing/2014/main" id="{C46C2820-A85E-4AF5-A561-15468FFFA704}"/>
                </a:ext>
              </a:extLst>
            </p:cNvPr>
            <p:cNvSpPr txBox="1"/>
            <p:nvPr/>
          </p:nvSpPr>
          <p:spPr>
            <a:xfrm>
              <a:off x="2343851" y="5086467"/>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Americans will be able to access a wide variety of </a:t>
              </a:r>
              <a:r>
                <a:rPr lang="en-US" sz="1400" b="1" dirty="0">
                  <a:solidFill>
                    <a:srgbClr val="164484"/>
                  </a:solidFill>
                  <a:latin typeface="+mj-lt"/>
                </a:rPr>
                <a:t>entertainment</a:t>
              </a:r>
              <a:r>
                <a:rPr lang="en-US" sz="1400" dirty="0">
                  <a:solidFill>
                    <a:srgbClr val="000000"/>
                  </a:solidFill>
                  <a:latin typeface="+mj-lt"/>
                </a:rPr>
                <a:t> options</a:t>
              </a:r>
            </a:p>
          </p:txBody>
        </p:sp>
        <p:grpSp>
          <p:nvGrpSpPr>
            <p:cNvPr id="149" name="Group 148">
              <a:extLst>
                <a:ext uri="{FF2B5EF4-FFF2-40B4-BE49-F238E27FC236}">
                  <a16:creationId xmlns:a16="http://schemas.microsoft.com/office/drawing/2014/main" id="{16FB6789-18B7-404B-A7F2-EF5BB04C5F44}"/>
                </a:ext>
              </a:extLst>
            </p:cNvPr>
            <p:cNvGrpSpPr>
              <a:grpSpLocks noChangeAspect="1"/>
            </p:cNvGrpSpPr>
            <p:nvPr/>
          </p:nvGrpSpPr>
          <p:grpSpPr bwMode="auto">
            <a:xfrm>
              <a:off x="2840560" y="4047044"/>
              <a:ext cx="596271" cy="596271"/>
              <a:chOff x="2652" y="972"/>
              <a:chExt cx="2376" cy="2376"/>
            </a:xfrm>
          </p:grpSpPr>
          <p:sp>
            <p:nvSpPr>
              <p:cNvPr id="150" name="AutoShape 4">
                <a:extLst>
                  <a:ext uri="{FF2B5EF4-FFF2-40B4-BE49-F238E27FC236}">
                    <a16:creationId xmlns:a16="http://schemas.microsoft.com/office/drawing/2014/main" id="{341B1839-4349-433C-9439-50E6065C0A1C}"/>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6">
                <a:extLst>
                  <a:ext uri="{FF2B5EF4-FFF2-40B4-BE49-F238E27FC236}">
                    <a16:creationId xmlns:a16="http://schemas.microsoft.com/office/drawing/2014/main" id="{D134202A-7E35-41B8-8BFB-AB0AFAEF9D27}"/>
                  </a:ext>
                </a:extLst>
              </p:cNvPr>
              <p:cNvSpPr>
                <a:spLocks noEditPoints="1"/>
              </p:cNvSpPr>
              <p:nvPr/>
            </p:nvSpPr>
            <p:spPr bwMode="auto">
              <a:xfrm>
                <a:off x="3456" y="1119"/>
                <a:ext cx="771" cy="2084"/>
              </a:xfrm>
              <a:custGeom>
                <a:avLst/>
                <a:gdLst>
                  <a:gd name="T0" fmla="*/ 172 w 324"/>
                  <a:gd name="T1" fmla="*/ 490 h 876"/>
                  <a:gd name="T2" fmla="*/ 140 w 324"/>
                  <a:gd name="T3" fmla="*/ 538 h 876"/>
                  <a:gd name="T4" fmla="*/ 145 w 324"/>
                  <a:gd name="T5" fmla="*/ 570 h 876"/>
                  <a:gd name="T6" fmla="*/ 157 w 324"/>
                  <a:gd name="T7" fmla="*/ 585 h 876"/>
                  <a:gd name="T8" fmla="*/ 189 w 324"/>
                  <a:gd name="T9" fmla="*/ 550 h 876"/>
                  <a:gd name="T10" fmla="*/ 202 w 324"/>
                  <a:gd name="T11" fmla="*/ 478 h 876"/>
                  <a:gd name="T12" fmla="*/ 217 w 324"/>
                  <a:gd name="T13" fmla="*/ 573 h 876"/>
                  <a:gd name="T14" fmla="*/ 284 w 324"/>
                  <a:gd name="T15" fmla="*/ 596 h 876"/>
                  <a:gd name="T16" fmla="*/ 276 w 324"/>
                  <a:gd name="T17" fmla="*/ 502 h 876"/>
                  <a:gd name="T18" fmla="*/ 255 w 324"/>
                  <a:gd name="T19" fmla="*/ 483 h 876"/>
                  <a:gd name="T20" fmla="*/ 229 w 324"/>
                  <a:gd name="T21" fmla="*/ 476 h 876"/>
                  <a:gd name="T22" fmla="*/ 132 w 324"/>
                  <a:gd name="T23" fmla="*/ 387 h 876"/>
                  <a:gd name="T24" fmla="*/ 73 w 324"/>
                  <a:gd name="T25" fmla="*/ 441 h 876"/>
                  <a:gd name="T26" fmla="*/ 42 w 324"/>
                  <a:gd name="T27" fmla="*/ 560 h 876"/>
                  <a:gd name="T28" fmla="*/ 56 w 324"/>
                  <a:gd name="T29" fmla="*/ 609 h 876"/>
                  <a:gd name="T30" fmla="*/ 64 w 324"/>
                  <a:gd name="T31" fmla="*/ 623 h 876"/>
                  <a:gd name="T32" fmla="*/ 190 w 324"/>
                  <a:gd name="T33" fmla="*/ 668 h 876"/>
                  <a:gd name="T34" fmla="*/ 172 w 324"/>
                  <a:gd name="T35" fmla="*/ 608 h 876"/>
                  <a:gd name="T36" fmla="*/ 124 w 324"/>
                  <a:gd name="T37" fmla="*/ 581 h 876"/>
                  <a:gd name="T38" fmla="*/ 111 w 324"/>
                  <a:gd name="T39" fmla="*/ 555 h 876"/>
                  <a:gd name="T40" fmla="*/ 147 w 324"/>
                  <a:gd name="T41" fmla="*/ 461 h 876"/>
                  <a:gd name="T42" fmla="*/ 158 w 324"/>
                  <a:gd name="T43" fmla="*/ 453 h 876"/>
                  <a:gd name="T44" fmla="*/ 256 w 324"/>
                  <a:gd name="T45" fmla="*/ 84 h 876"/>
                  <a:gd name="T46" fmla="*/ 200 w 324"/>
                  <a:gd name="T47" fmla="*/ 184 h 876"/>
                  <a:gd name="T48" fmla="*/ 200 w 324"/>
                  <a:gd name="T49" fmla="*/ 275 h 876"/>
                  <a:gd name="T50" fmla="*/ 240 w 324"/>
                  <a:gd name="T51" fmla="*/ 211 h 876"/>
                  <a:gd name="T52" fmla="*/ 281 w 324"/>
                  <a:gd name="T53" fmla="*/ 0 h 876"/>
                  <a:gd name="T54" fmla="*/ 306 w 324"/>
                  <a:gd name="T55" fmla="*/ 52 h 876"/>
                  <a:gd name="T56" fmla="*/ 292 w 324"/>
                  <a:gd name="T57" fmla="*/ 226 h 876"/>
                  <a:gd name="T58" fmla="*/ 246 w 324"/>
                  <a:gd name="T59" fmla="*/ 302 h 876"/>
                  <a:gd name="T60" fmla="*/ 229 w 324"/>
                  <a:gd name="T61" fmla="*/ 320 h 876"/>
                  <a:gd name="T62" fmla="*/ 196 w 324"/>
                  <a:gd name="T63" fmla="*/ 438 h 876"/>
                  <a:gd name="T64" fmla="*/ 239 w 324"/>
                  <a:gd name="T65" fmla="*/ 438 h 876"/>
                  <a:gd name="T66" fmla="*/ 277 w 324"/>
                  <a:gd name="T67" fmla="*/ 455 h 876"/>
                  <a:gd name="T68" fmla="*/ 310 w 324"/>
                  <a:gd name="T69" fmla="*/ 608 h 876"/>
                  <a:gd name="T70" fmla="*/ 233 w 324"/>
                  <a:gd name="T71" fmla="*/ 731 h 876"/>
                  <a:gd name="T72" fmla="*/ 219 w 324"/>
                  <a:gd name="T73" fmla="*/ 818 h 876"/>
                  <a:gd name="T74" fmla="*/ 149 w 324"/>
                  <a:gd name="T75" fmla="*/ 874 h 876"/>
                  <a:gd name="T76" fmla="*/ 106 w 324"/>
                  <a:gd name="T77" fmla="*/ 873 h 876"/>
                  <a:gd name="T78" fmla="*/ 68 w 324"/>
                  <a:gd name="T79" fmla="*/ 716 h 876"/>
                  <a:gd name="T80" fmla="*/ 99 w 324"/>
                  <a:gd name="T81" fmla="*/ 702 h 876"/>
                  <a:gd name="T82" fmla="*/ 160 w 324"/>
                  <a:gd name="T83" fmla="*/ 753 h 876"/>
                  <a:gd name="T84" fmla="*/ 110 w 324"/>
                  <a:gd name="T85" fmla="*/ 715 h 876"/>
                  <a:gd name="T86" fmla="*/ 101 w 324"/>
                  <a:gd name="T87" fmla="*/ 717 h 876"/>
                  <a:gd name="T88" fmla="*/ 65 w 324"/>
                  <a:gd name="T89" fmla="*/ 788 h 876"/>
                  <a:gd name="T90" fmla="*/ 67 w 324"/>
                  <a:gd name="T91" fmla="*/ 800 h 876"/>
                  <a:gd name="T92" fmla="*/ 135 w 324"/>
                  <a:gd name="T93" fmla="*/ 843 h 876"/>
                  <a:gd name="T94" fmla="*/ 143 w 324"/>
                  <a:gd name="T95" fmla="*/ 842 h 876"/>
                  <a:gd name="T96" fmla="*/ 193 w 324"/>
                  <a:gd name="T97" fmla="*/ 793 h 876"/>
                  <a:gd name="T98" fmla="*/ 201 w 324"/>
                  <a:gd name="T99" fmla="*/ 718 h 876"/>
                  <a:gd name="T100" fmla="*/ 41 w 324"/>
                  <a:gd name="T101" fmla="*/ 639 h 876"/>
                  <a:gd name="T102" fmla="*/ 30 w 324"/>
                  <a:gd name="T103" fmla="*/ 623 h 876"/>
                  <a:gd name="T104" fmla="*/ 5 w 324"/>
                  <a:gd name="T105" fmla="*/ 566 h 876"/>
                  <a:gd name="T106" fmla="*/ 21 w 324"/>
                  <a:gd name="T107" fmla="*/ 439 h 876"/>
                  <a:gd name="T108" fmla="*/ 105 w 324"/>
                  <a:gd name="T109" fmla="*/ 346 h 876"/>
                  <a:gd name="T110" fmla="*/ 177 w 324"/>
                  <a:gd name="T111" fmla="*/ 193 h 876"/>
                  <a:gd name="T112" fmla="*/ 196 w 324"/>
                  <a:gd name="T113" fmla="*/ 115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4" h="876">
                    <a:moveTo>
                      <a:pt x="182" y="484"/>
                    </a:moveTo>
                    <a:cubicBezTo>
                      <a:pt x="180" y="485"/>
                      <a:pt x="178" y="486"/>
                      <a:pt x="177" y="487"/>
                    </a:cubicBezTo>
                    <a:cubicBezTo>
                      <a:pt x="176" y="487"/>
                      <a:pt x="175" y="487"/>
                      <a:pt x="174" y="488"/>
                    </a:cubicBezTo>
                    <a:cubicBezTo>
                      <a:pt x="174" y="488"/>
                      <a:pt x="174" y="488"/>
                      <a:pt x="173" y="488"/>
                    </a:cubicBezTo>
                    <a:cubicBezTo>
                      <a:pt x="173" y="488"/>
                      <a:pt x="173" y="488"/>
                      <a:pt x="172" y="489"/>
                    </a:cubicBezTo>
                    <a:cubicBezTo>
                      <a:pt x="172" y="489"/>
                      <a:pt x="172" y="489"/>
                      <a:pt x="172" y="489"/>
                    </a:cubicBezTo>
                    <a:cubicBezTo>
                      <a:pt x="172" y="489"/>
                      <a:pt x="172" y="489"/>
                      <a:pt x="172" y="490"/>
                    </a:cubicBezTo>
                    <a:cubicBezTo>
                      <a:pt x="172" y="490"/>
                      <a:pt x="172" y="490"/>
                      <a:pt x="170" y="490"/>
                    </a:cubicBezTo>
                    <a:cubicBezTo>
                      <a:pt x="170" y="490"/>
                      <a:pt x="170" y="490"/>
                      <a:pt x="169" y="491"/>
                    </a:cubicBezTo>
                    <a:cubicBezTo>
                      <a:pt x="169" y="491"/>
                      <a:pt x="169" y="491"/>
                      <a:pt x="168" y="492"/>
                    </a:cubicBezTo>
                    <a:cubicBezTo>
                      <a:pt x="165" y="494"/>
                      <a:pt x="163" y="496"/>
                      <a:pt x="160" y="498"/>
                    </a:cubicBezTo>
                    <a:cubicBezTo>
                      <a:pt x="158" y="500"/>
                      <a:pt x="156" y="502"/>
                      <a:pt x="154" y="505"/>
                    </a:cubicBezTo>
                    <a:cubicBezTo>
                      <a:pt x="150" y="510"/>
                      <a:pt x="147" y="515"/>
                      <a:pt x="144" y="520"/>
                    </a:cubicBezTo>
                    <a:cubicBezTo>
                      <a:pt x="142" y="526"/>
                      <a:pt x="140" y="532"/>
                      <a:pt x="140" y="538"/>
                    </a:cubicBezTo>
                    <a:cubicBezTo>
                      <a:pt x="139" y="540"/>
                      <a:pt x="139" y="543"/>
                      <a:pt x="139" y="546"/>
                    </a:cubicBezTo>
                    <a:cubicBezTo>
                      <a:pt x="139" y="547"/>
                      <a:pt x="139" y="548"/>
                      <a:pt x="140" y="550"/>
                    </a:cubicBezTo>
                    <a:cubicBezTo>
                      <a:pt x="140" y="550"/>
                      <a:pt x="140" y="550"/>
                      <a:pt x="140" y="550"/>
                    </a:cubicBezTo>
                    <a:cubicBezTo>
                      <a:pt x="140" y="551"/>
                      <a:pt x="140" y="551"/>
                      <a:pt x="140" y="551"/>
                    </a:cubicBezTo>
                    <a:cubicBezTo>
                      <a:pt x="140" y="552"/>
                      <a:pt x="140" y="553"/>
                      <a:pt x="140" y="553"/>
                    </a:cubicBezTo>
                    <a:cubicBezTo>
                      <a:pt x="141" y="559"/>
                      <a:pt x="142" y="564"/>
                      <a:pt x="144" y="568"/>
                    </a:cubicBezTo>
                    <a:cubicBezTo>
                      <a:pt x="144" y="568"/>
                      <a:pt x="144" y="568"/>
                      <a:pt x="145" y="570"/>
                    </a:cubicBezTo>
                    <a:cubicBezTo>
                      <a:pt x="145" y="570"/>
                      <a:pt x="145" y="571"/>
                      <a:pt x="145" y="571"/>
                    </a:cubicBezTo>
                    <a:cubicBezTo>
                      <a:pt x="145" y="571"/>
                      <a:pt x="145" y="571"/>
                      <a:pt x="146" y="571"/>
                    </a:cubicBezTo>
                    <a:cubicBezTo>
                      <a:pt x="146" y="571"/>
                      <a:pt x="146" y="571"/>
                      <a:pt x="146" y="572"/>
                    </a:cubicBezTo>
                    <a:cubicBezTo>
                      <a:pt x="146" y="572"/>
                      <a:pt x="146" y="573"/>
                      <a:pt x="147" y="573"/>
                    </a:cubicBezTo>
                    <a:cubicBezTo>
                      <a:pt x="147" y="574"/>
                      <a:pt x="147" y="574"/>
                      <a:pt x="148" y="575"/>
                    </a:cubicBezTo>
                    <a:cubicBezTo>
                      <a:pt x="149" y="577"/>
                      <a:pt x="150" y="579"/>
                      <a:pt x="152" y="580"/>
                    </a:cubicBezTo>
                    <a:cubicBezTo>
                      <a:pt x="153" y="582"/>
                      <a:pt x="155" y="584"/>
                      <a:pt x="157" y="585"/>
                    </a:cubicBezTo>
                    <a:cubicBezTo>
                      <a:pt x="159" y="587"/>
                      <a:pt x="160" y="588"/>
                      <a:pt x="162" y="589"/>
                    </a:cubicBezTo>
                    <a:cubicBezTo>
                      <a:pt x="166" y="590"/>
                      <a:pt x="170" y="592"/>
                      <a:pt x="174" y="593"/>
                    </a:cubicBezTo>
                    <a:cubicBezTo>
                      <a:pt x="178" y="594"/>
                      <a:pt x="182" y="595"/>
                      <a:pt x="185" y="595"/>
                    </a:cubicBezTo>
                    <a:cubicBezTo>
                      <a:pt x="188" y="595"/>
                      <a:pt x="191" y="595"/>
                      <a:pt x="194" y="595"/>
                    </a:cubicBezTo>
                    <a:cubicBezTo>
                      <a:pt x="193" y="588"/>
                      <a:pt x="192" y="580"/>
                      <a:pt x="192" y="573"/>
                    </a:cubicBezTo>
                    <a:cubicBezTo>
                      <a:pt x="191" y="566"/>
                      <a:pt x="190" y="559"/>
                      <a:pt x="189" y="552"/>
                    </a:cubicBezTo>
                    <a:cubicBezTo>
                      <a:pt x="189" y="551"/>
                      <a:pt x="189" y="551"/>
                      <a:pt x="189" y="550"/>
                    </a:cubicBezTo>
                    <a:cubicBezTo>
                      <a:pt x="188" y="541"/>
                      <a:pt x="187" y="533"/>
                      <a:pt x="186" y="525"/>
                    </a:cubicBezTo>
                    <a:cubicBezTo>
                      <a:pt x="186" y="520"/>
                      <a:pt x="185" y="515"/>
                      <a:pt x="184" y="511"/>
                    </a:cubicBezTo>
                    <a:cubicBezTo>
                      <a:pt x="184" y="506"/>
                      <a:pt x="184" y="501"/>
                      <a:pt x="183" y="497"/>
                    </a:cubicBezTo>
                    <a:cubicBezTo>
                      <a:pt x="182" y="492"/>
                      <a:pt x="182" y="488"/>
                      <a:pt x="182" y="484"/>
                    </a:cubicBezTo>
                    <a:close/>
                    <a:moveTo>
                      <a:pt x="218" y="476"/>
                    </a:moveTo>
                    <a:cubicBezTo>
                      <a:pt x="214" y="476"/>
                      <a:pt x="211" y="476"/>
                      <a:pt x="207" y="477"/>
                    </a:cubicBezTo>
                    <a:cubicBezTo>
                      <a:pt x="205" y="477"/>
                      <a:pt x="204" y="477"/>
                      <a:pt x="202" y="478"/>
                    </a:cubicBezTo>
                    <a:cubicBezTo>
                      <a:pt x="202" y="478"/>
                      <a:pt x="202" y="478"/>
                      <a:pt x="201" y="478"/>
                    </a:cubicBezTo>
                    <a:cubicBezTo>
                      <a:pt x="202" y="483"/>
                      <a:pt x="203" y="488"/>
                      <a:pt x="204" y="494"/>
                    </a:cubicBezTo>
                    <a:cubicBezTo>
                      <a:pt x="205" y="499"/>
                      <a:pt x="205" y="503"/>
                      <a:pt x="206" y="507"/>
                    </a:cubicBezTo>
                    <a:cubicBezTo>
                      <a:pt x="207" y="512"/>
                      <a:pt x="208" y="516"/>
                      <a:pt x="208" y="521"/>
                    </a:cubicBezTo>
                    <a:cubicBezTo>
                      <a:pt x="210" y="530"/>
                      <a:pt x="212" y="539"/>
                      <a:pt x="213" y="549"/>
                    </a:cubicBezTo>
                    <a:cubicBezTo>
                      <a:pt x="213" y="549"/>
                      <a:pt x="213" y="549"/>
                      <a:pt x="214" y="549"/>
                    </a:cubicBezTo>
                    <a:cubicBezTo>
                      <a:pt x="215" y="557"/>
                      <a:pt x="216" y="565"/>
                      <a:pt x="217" y="573"/>
                    </a:cubicBezTo>
                    <a:cubicBezTo>
                      <a:pt x="218" y="578"/>
                      <a:pt x="219" y="583"/>
                      <a:pt x="219" y="587"/>
                    </a:cubicBezTo>
                    <a:cubicBezTo>
                      <a:pt x="219" y="587"/>
                      <a:pt x="219" y="590"/>
                      <a:pt x="219" y="592"/>
                    </a:cubicBezTo>
                    <a:cubicBezTo>
                      <a:pt x="220" y="596"/>
                      <a:pt x="220" y="601"/>
                      <a:pt x="221" y="605"/>
                    </a:cubicBezTo>
                    <a:cubicBezTo>
                      <a:pt x="223" y="621"/>
                      <a:pt x="224" y="638"/>
                      <a:pt x="226" y="654"/>
                    </a:cubicBezTo>
                    <a:cubicBezTo>
                      <a:pt x="233" y="650"/>
                      <a:pt x="241" y="646"/>
                      <a:pt x="247" y="641"/>
                    </a:cubicBezTo>
                    <a:cubicBezTo>
                      <a:pt x="255" y="635"/>
                      <a:pt x="262" y="628"/>
                      <a:pt x="269" y="620"/>
                    </a:cubicBezTo>
                    <a:cubicBezTo>
                      <a:pt x="275" y="613"/>
                      <a:pt x="280" y="604"/>
                      <a:pt x="284" y="596"/>
                    </a:cubicBezTo>
                    <a:cubicBezTo>
                      <a:pt x="288" y="588"/>
                      <a:pt x="289" y="580"/>
                      <a:pt x="291" y="573"/>
                    </a:cubicBezTo>
                    <a:cubicBezTo>
                      <a:pt x="292" y="565"/>
                      <a:pt x="293" y="557"/>
                      <a:pt x="293" y="549"/>
                    </a:cubicBezTo>
                    <a:cubicBezTo>
                      <a:pt x="292" y="547"/>
                      <a:pt x="292" y="544"/>
                      <a:pt x="292" y="541"/>
                    </a:cubicBezTo>
                    <a:cubicBezTo>
                      <a:pt x="290" y="532"/>
                      <a:pt x="288" y="524"/>
                      <a:pt x="284" y="516"/>
                    </a:cubicBezTo>
                    <a:cubicBezTo>
                      <a:pt x="282" y="512"/>
                      <a:pt x="280" y="508"/>
                      <a:pt x="278" y="504"/>
                    </a:cubicBezTo>
                    <a:cubicBezTo>
                      <a:pt x="278" y="504"/>
                      <a:pt x="278" y="504"/>
                      <a:pt x="277" y="503"/>
                    </a:cubicBezTo>
                    <a:cubicBezTo>
                      <a:pt x="277" y="503"/>
                      <a:pt x="277" y="503"/>
                      <a:pt x="276" y="502"/>
                    </a:cubicBezTo>
                    <a:cubicBezTo>
                      <a:pt x="275" y="501"/>
                      <a:pt x="274" y="500"/>
                      <a:pt x="274" y="499"/>
                    </a:cubicBezTo>
                    <a:cubicBezTo>
                      <a:pt x="273" y="498"/>
                      <a:pt x="272" y="496"/>
                      <a:pt x="270" y="495"/>
                    </a:cubicBezTo>
                    <a:cubicBezTo>
                      <a:pt x="268" y="492"/>
                      <a:pt x="265" y="490"/>
                      <a:pt x="261" y="487"/>
                    </a:cubicBezTo>
                    <a:cubicBezTo>
                      <a:pt x="260" y="487"/>
                      <a:pt x="260" y="487"/>
                      <a:pt x="259" y="486"/>
                    </a:cubicBezTo>
                    <a:cubicBezTo>
                      <a:pt x="259" y="486"/>
                      <a:pt x="259" y="486"/>
                      <a:pt x="258" y="485"/>
                    </a:cubicBezTo>
                    <a:cubicBezTo>
                      <a:pt x="258" y="485"/>
                      <a:pt x="258" y="485"/>
                      <a:pt x="257" y="484"/>
                    </a:cubicBezTo>
                    <a:cubicBezTo>
                      <a:pt x="257" y="484"/>
                      <a:pt x="257" y="484"/>
                      <a:pt x="255" y="483"/>
                    </a:cubicBezTo>
                    <a:cubicBezTo>
                      <a:pt x="255" y="483"/>
                      <a:pt x="255" y="483"/>
                      <a:pt x="254" y="483"/>
                    </a:cubicBezTo>
                    <a:cubicBezTo>
                      <a:pt x="254" y="483"/>
                      <a:pt x="254" y="483"/>
                      <a:pt x="254" y="483"/>
                    </a:cubicBezTo>
                    <a:cubicBezTo>
                      <a:pt x="253" y="482"/>
                      <a:pt x="252" y="482"/>
                      <a:pt x="251" y="482"/>
                    </a:cubicBezTo>
                    <a:cubicBezTo>
                      <a:pt x="248" y="480"/>
                      <a:pt x="244" y="479"/>
                      <a:pt x="241" y="478"/>
                    </a:cubicBezTo>
                    <a:cubicBezTo>
                      <a:pt x="238" y="478"/>
                      <a:pt x="237" y="478"/>
                      <a:pt x="235" y="477"/>
                    </a:cubicBezTo>
                    <a:cubicBezTo>
                      <a:pt x="234" y="477"/>
                      <a:pt x="233" y="477"/>
                      <a:pt x="232" y="477"/>
                    </a:cubicBezTo>
                    <a:cubicBezTo>
                      <a:pt x="231" y="477"/>
                      <a:pt x="230" y="477"/>
                      <a:pt x="229" y="476"/>
                    </a:cubicBezTo>
                    <a:cubicBezTo>
                      <a:pt x="229" y="476"/>
                      <a:pt x="229" y="476"/>
                      <a:pt x="228" y="476"/>
                    </a:cubicBezTo>
                    <a:cubicBezTo>
                      <a:pt x="228" y="476"/>
                      <a:pt x="228" y="476"/>
                      <a:pt x="226" y="476"/>
                    </a:cubicBezTo>
                    <a:cubicBezTo>
                      <a:pt x="225" y="476"/>
                      <a:pt x="224" y="476"/>
                      <a:pt x="224" y="476"/>
                    </a:cubicBezTo>
                    <a:cubicBezTo>
                      <a:pt x="222" y="476"/>
                      <a:pt x="220" y="476"/>
                      <a:pt x="218" y="476"/>
                    </a:cubicBezTo>
                    <a:close/>
                    <a:moveTo>
                      <a:pt x="175" y="359"/>
                    </a:moveTo>
                    <a:cubicBezTo>
                      <a:pt x="165" y="365"/>
                      <a:pt x="155" y="372"/>
                      <a:pt x="145" y="378"/>
                    </a:cubicBezTo>
                    <a:cubicBezTo>
                      <a:pt x="141" y="381"/>
                      <a:pt x="136" y="384"/>
                      <a:pt x="132" y="387"/>
                    </a:cubicBezTo>
                    <a:cubicBezTo>
                      <a:pt x="130" y="388"/>
                      <a:pt x="128" y="390"/>
                      <a:pt x="125" y="391"/>
                    </a:cubicBezTo>
                    <a:cubicBezTo>
                      <a:pt x="125" y="391"/>
                      <a:pt x="125" y="391"/>
                      <a:pt x="122" y="393"/>
                    </a:cubicBezTo>
                    <a:cubicBezTo>
                      <a:pt x="122" y="393"/>
                      <a:pt x="122" y="393"/>
                      <a:pt x="121" y="394"/>
                    </a:cubicBezTo>
                    <a:cubicBezTo>
                      <a:pt x="121" y="394"/>
                      <a:pt x="121" y="394"/>
                      <a:pt x="119" y="395"/>
                    </a:cubicBezTo>
                    <a:cubicBezTo>
                      <a:pt x="111" y="401"/>
                      <a:pt x="104" y="407"/>
                      <a:pt x="97" y="414"/>
                    </a:cubicBezTo>
                    <a:cubicBezTo>
                      <a:pt x="95" y="415"/>
                      <a:pt x="94" y="417"/>
                      <a:pt x="92" y="418"/>
                    </a:cubicBezTo>
                    <a:cubicBezTo>
                      <a:pt x="85" y="426"/>
                      <a:pt x="79" y="433"/>
                      <a:pt x="73" y="441"/>
                    </a:cubicBezTo>
                    <a:cubicBezTo>
                      <a:pt x="69" y="448"/>
                      <a:pt x="65" y="454"/>
                      <a:pt x="62" y="461"/>
                    </a:cubicBezTo>
                    <a:cubicBezTo>
                      <a:pt x="52" y="478"/>
                      <a:pt x="46" y="498"/>
                      <a:pt x="44" y="518"/>
                    </a:cubicBezTo>
                    <a:cubicBezTo>
                      <a:pt x="42" y="528"/>
                      <a:pt x="41" y="538"/>
                      <a:pt x="41" y="548"/>
                    </a:cubicBezTo>
                    <a:cubicBezTo>
                      <a:pt x="41" y="548"/>
                      <a:pt x="41" y="548"/>
                      <a:pt x="41" y="550"/>
                    </a:cubicBezTo>
                    <a:cubicBezTo>
                      <a:pt x="41" y="551"/>
                      <a:pt x="41" y="551"/>
                      <a:pt x="41" y="552"/>
                    </a:cubicBezTo>
                    <a:cubicBezTo>
                      <a:pt x="41" y="552"/>
                      <a:pt x="41" y="552"/>
                      <a:pt x="41" y="556"/>
                    </a:cubicBezTo>
                    <a:cubicBezTo>
                      <a:pt x="41" y="557"/>
                      <a:pt x="42" y="559"/>
                      <a:pt x="42" y="560"/>
                    </a:cubicBezTo>
                    <a:cubicBezTo>
                      <a:pt x="42" y="560"/>
                      <a:pt x="42" y="560"/>
                      <a:pt x="42" y="560"/>
                    </a:cubicBezTo>
                    <a:cubicBezTo>
                      <a:pt x="42" y="560"/>
                      <a:pt x="42" y="560"/>
                      <a:pt x="42" y="561"/>
                    </a:cubicBezTo>
                    <a:cubicBezTo>
                      <a:pt x="42" y="561"/>
                      <a:pt x="42" y="561"/>
                      <a:pt x="42" y="562"/>
                    </a:cubicBezTo>
                    <a:cubicBezTo>
                      <a:pt x="42" y="562"/>
                      <a:pt x="42" y="562"/>
                      <a:pt x="42" y="564"/>
                    </a:cubicBezTo>
                    <a:cubicBezTo>
                      <a:pt x="42" y="567"/>
                      <a:pt x="43" y="570"/>
                      <a:pt x="43" y="573"/>
                    </a:cubicBezTo>
                    <a:cubicBezTo>
                      <a:pt x="44" y="575"/>
                      <a:pt x="44" y="577"/>
                      <a:pt x="45" y="579"/>
                    </a:cubicBezTo>
                    <a:cubicBezTo>
                      <a:pt x="48" y="589"/>
                      <a:pt x="51" y="599"/>
                      <a:pt x="56" y="609"/>
                    </a:cubicBezTo>
                    <a:cubicBezTo>
                      <a:pt x="56" y="609"/>
                      <a:pt x="56" y="609"/>
                      <a:pt x="59" y="612"/>
                    </a:cubicBezTo>
                    <a:cubicBezTo>
                      <a:pt x="59" y="612"/>
                      <a:pt x="59" y="612"/>
                      <a:pt x="60" y="615"/>
                    </a:cubicBezTo>
                    <a:cubicBezTo>
                      <a:pt x="60" y="615"/>
                      <a:pt x="60" y="615"/>
                      <a:pt x="62" y="619"/>
                    </a:cubicBezTo>
                    <a:cubicBezTo>
                      <a:pt x="62" y="619"/>
                      <a:pt x="62" y="619"/>
                      <a:pt x="62" y="619"/>
                    </a:cubicBezTo>
                    <a:cubicBezTo>
                      <a:pt x="62" y="619"/>
                      <a:pt x="62" y="619"/>
                      <a:pt x="63" y="620"/>
                    </a:cubicBezTo>
                    <a:cubicBezTo>
                      <a:pt x="63" y="620"/>
                      <a:pt x="63" y="620"/>
                      <a:pt x="63" y="621"/>
                    </a:cubicBezTo>
                    <a:cubicBezTo>
                      <a:pt x="64" y="621"/>
                      <a:pt x="64" y="622"/>
                      <a:pt x="64" y="623"/>
                    </a:cubicBezTo>
                    <a:cubicBezTo>
                      <a:pt x="67" y="626"/>
                      <a:pt x="71" y="631"/>
                      <a:pt x="74" y="635"/>
                    </a:cubicBezTo>
                    <a:cubicBezTo>
                      <a:pt x="88" y="650"/>
                      <a:pt x="107" y="661"/>
                      <a:pt x="128" y="666"/>
                    </a:cubicBezTo>
                    <a:cubicBezTo>
                      <a:pt x="130" y="667"/>
                      <a:pt x="132" y="668"/>
                      <a:pt x="135" y="669"/>
                    </a:cubicBezTo>
                    <a:cubicBezTo>
                      <a:pt x="136" y="669"/>
                      <a:pt x="138" y="669"/>
                      <a:pt x="139" y="669"/>
                    </a:cubicBezTo>
                    <a:cubicBezTo>
                      <a:pt x="140" y="670"/>
                      <a:pt x="141" y="670"/>
                      <a:pt x="143" y="670"/>
                    </a:cubicBezTo>
                    <a:cubicBezTo>
                      <a:pt x="148" y="670"/>
                      <a:pt x="153" y="671"/>
                      <a:pt x="159" y="671"/>
                    </a:cubicBezTo>
                    <a:cubicBezTo>
                      <a:pt x="169" y="671"/>
                      <a:pt x="180" y="670"/>
                      <a:pt x="190" y="668"/>
                    </a:cubicBezTo>
                    <a:cubicBezTo>
                      <a:pt x="193" y="667"/>
                      <a:pt x="196" y="666"/>
                      <a:pt x="199" y="665"/>
                    </a:cubicBezTo>
                    <a:cubicBezTo>
                      <a:pt x="199" y="665"/>
                      <a:pt x="199" y="664"/>
                      <a:pt x="199" y="664"/>
                    </a:cubicBezTo>
                    <a:cubicBezTo>
                      <a:pt x="199" y="654"/>
                      <a:pt x="198" y="645"/>
                      <a:pt x="197" y="636"/>
                    </a:cubicBezTo>
                    <a:cubicBezTo>
                      <a:pt x="196" y="627"/>
                      <a:pt x="196" y="617"/>
                      <a:pt x="195" y="608"/>
                    </a:cubicBezTo>
                    <a:cubicBezTo>
                      <a:pt x="195" y="607"/>
                      <a:pt x="195" y="606"/>
                      <a:pt x="195" y="606"/>
                    </a:cubicBezTo>
                    <a:cubicBezTo>
                      <a:pt x="192" y="606"/>
                      <a:pt x="189" y="607"/>
                      <a:pt x="186" y="608"/>
                    </a:cubicBezTo>
                    <a:cubicBezTo>
                      <a:pt x="182" y="608"/>
                      <a:pt x="177" y="609"/>
                      <a:pt x="172" y="608"/>
                    </a:cubicBezTo>
                    <a:cubicBezTo>
                      <a:pt x="167" y="608"/>
                      <a:pt x="161" y="607"/>
                      <a:pt x="156" y="605"/>
                    </a:cubicBezTo>
                    <a:cubicBezTo>
                      <a:pt x="153" y="604"/>
                      <a:pt x="150" y="603"/>
                      <a:pt x="148" y="601"/>
                    </a:cubicBezTo>
                    <a:cubicBezTo>
                      <a:pt x="144" y="600"/>
                      <a:pt x="141" y="598"/>
                      <a:pt x="139" y="597"/>
                    </a:cubicBezTo>
                    <a:cubicBezTo>
                      <a:pt x="136" y="594"/>
                      <a:pt x="133" y="592"/>
                      <a:pt x="131" y="589"/>
                    </a:cubicBezTo>
                    <a:cubicBezTo>
                      <a:pt x="129" y="588"/>
                      <a:pt x="129" y="587"/>
                      <a:pt x="128" y="585"/>
                    </a:cubicBezTo>
                    <a:cubicBezTo>
                      <a:pt x="127" y="584"/>
                      <a:pt x="126" y="584"/>
                      <a:pt x="126" y="584"/>
                    </a:cubicBezTo>
                    <a:cubicBezTo>
                      <a:pt x="125" y="583"/>
                      <a:pt x="124" y="582"/>
                      <a:pt x="124" y="581"/>
                    </a:cubicBezTo>
                    <a:cubicBezTo>
                      <a:pt x="122" y="579"/>
                      <a:pt x="120" y="576"/>
                      <a:pt x="119" y="573"/>
                    </a:cubicBezTo>
                    <a:cubicBezTo>
                      <a:pt x="117" y="569"/>
                      <a:pt x="115" y="565"/>
                      <a:pt x="113" y="561"/>
                    </a:cubicBezTo>
                    <a:cubicBezTo>
                      <a:pt x="113" y="560"/>
                      <a:pt x="112" y="559"/>
                      <a:pt x="112" y="558"/>
                    </a:cubicBezTo>
                    <a:cubicBezTo>
                      <a:pt x="112" y="558"/>
                      <a:pt x="112" y="558"/>
                      <a:pt x="111" y="557"/>
                    </a:cubicBezTo>
                    <a:cubicBezTo>
                      <a:pt x="111" y="557"/>
                      <a:pt x="111" y="557"/>
                      <a:pt x="111" y="556"/>
                    </a:cubicBezTo>
                    <a:cubicBezTo>
                      <a:pt x="111" y="556"/>
                      <a:pt x="111" y="556"/>
                      <a:pt x="111" y="555"/>
                    </a:cubicBezTo>
                    <a:cubicBezTo>
                      <a:pt x="111" y="555"/>
                      <a:pt x="111" y="555"/>
                      <a:pt x="111" y="555"/>
                    </a:cubicBezTo>
                    <a:cubicBezTo>
                      <a:pt x="111" y="554"/>
                      <a:pt x="110" y="552"/>
                      <a:pt x="110" y="550"/>
                    </a:cubicBezTo>
                    <a:cubicBezTo>
                      <a:pt x="110" y="550"/>
                      <a:pt x="110" y="549"/>
                      <a:pt x="110" y="549"/>
                    </a:cubicBezTo>
                    <a:cubicBezTo>
                      <a:pt x="109" y="545"/>
                      <a:pt x="109" y="540"/>
                      <a:pt x="109" y="536"/>
                    </a:cubicBezTo>
                    <a:cubicBezTo>
                      <a:pt x="109" y="519"/>
                      <a:pt x="115" y="500"/>
                      <a:pt x="125" y="484"/>
                    </a:cubicBezTo>
                    <a:cubicBezTo>
                      <a:pt x="128" y="480"/>
                      <a:pt x="131" y="476"/>
                      <a:pt x="134" y="472"/>
                    </a:cubicBezTo>
                    <a:cubicBezTo>
                      <a:pt x="138" y="469"/>
                      <a:pt x="141" y="465"/>
                      <a:pt x="145" y="462"/>
                    </a:cubicBezTo>
                    <a:cubicBezTo>
                      <a:pt x="145" y="462"/>
                      <a:pt x="145" y="462"/>
                      <a:pt x="147" y="461"/>
                    </a:cubicBezTo>
                    <a:cubicBezTo>
                      <a:pt x="147" y="461"/>
                      <a:pt x="147" y="461"/>
                      <a:pt x="149" y="459"/>
                    </a:cubicBezTo>
                    <a:cubicBezTo>
                      <a:pt x="149" y="459"/>
                      <a:pt x="149" y="459"/>
                      <a:pt x="150" y="458"/>
                    </a:cubicBezTo>
                    <a:cubicBezTo>
                      <a:pt x="150" y="458"/>
                      <a:pt x="150" y="458"/>
                      <a:pt x="151" y="458"/>
                    </a:cubicBezTo>
                    <a:cubicBezTo>
                      <a:pt x="151" y="458"/>
                      <a:pt x="151" y="458"/>
                      <a:pt x="152" y="457"/>
                    </a:cubicBezTo>
                    <a:cubicBezTo>
                      <a:pt x="152" y="457"/>
                      <a:pt x="152" y="457"/>
                      <a:pt x="153" y="456"/>
                    </a:cubicBezTo>
                    <a:cubicBezTo>
                      <a:pt x="153" y="456"/>
                      <a:pt x="153" y="456"/>
                      <a:pt x="154" y="455"/>
                    </a:cubicBezTo>
                    <a:cubicBezTo>
                      <a:pt x="156" y="454"/>
                      <a:pt x="156" y="454"/>
                      <a:pt x="158" y="453"/>
                    </a:cubicBezTo>
                    <a:cubicBezTo>
                      <a:pt x="162" y="451"/>
                      <a:pt x="166" y="448"/>
                      <a:pt x="171" y="446"/>
                    </a:cubicBezTo>
                    <a:cubicBezTo>
                      <a:pt x="174" y="445"/>
                      <a:pt x="176" y="444"/>
                      <a:pt x="179" y="443"/>
                    </a:cubicBezTo>
                    <a:cubicBezTo>
                      <a:pt x="179" y="443"/>
                      <a:pt x="179" y="442"/>
                      <a:pt x="179" y="441"/>
                    </a:cubicBezTo>
                    <a:cubicBezTo>
                      <a:pt x="178" y="434"/>
                      <a:pt x="178" y="426"/>
                      <a:pt x="177" y="418"/>
                    </a:cubicBezTo>
                    <a:cubicBezTo>
                      <a:pt x="177" y="408"/>
                      <a:pt x="176" y="398"/>
                      <a:pt x="176" y="388"/>
                    </a:cubicBezTo>
                    <a:cubicBezTo>
                      <a:pt x="176" y="378"/>
                      <a:pt x="175" y="368"/>
                      <a:pt x="175" y="359"/>
                    </a:cubicBezTo>
                    <a:close/>
                    <a:moveTo>
                      <a:pt x="256" y="84"/>
                    </a:moveTo>
                    <a:cubicBezTo>
                      <a:pt x="256" y="84"/>
                      <a:pt x="255" y="85"/>
                      <a:pt x="255" y="85"/>
                    </a:cubicBezTo>
                    <a:cubicBezTo>
                      <a:pt x="248" y="90"/>
                      <a:pt x="244" y="96"/>
                      <a:pt x="238" y="104"/>
                    </a:cubicBezTo>
                    <a:cubicBezTo>
                      <a:pt x="232" y="111"/>
                      <a:pt x="226" y="119"/>
                      <a:pt x="221" y="128"/>
                    </a:cubicBezTo>
                    <a:cubicBezTo>
                      <a:pt x="216" y="138"/>
                      <a:pt x="211" y="148"/>
                      <a:pt x="207" y="159"/>
                    </a:cubicBezTo>
                    <a:cubicBezTo>
                      <a:pt x="207" y="160"/>
                      <a:pt x="206" y="160"/>
                      <a:pt x="206" y="161"/>
                    </a:cubicBezTo>
                    <a:cubicBezTo>
                      <a:pt x="204" y="166"/>
                      <a:pt x="203" y="172"/>
                      <a:pt x="201" y="177"/>
                    </a:cubicBezTo>
                    <a:cubicBezTo>
                      <a:pt x="201" y="179"/>
                      <a:pt x="201" y="181"/>
                      <a:pt x="200" y="184"/>
                    </a:cubicBezTo>
                    <a:cubicBezTo>
                      <a:pt x="200" y="185"/>
                      <a:pt x="199" y="186"/>
                      <a:pt x="199" y="187"/>
                    </a:cubicBezTo>
                    <a:cubicBezTo>
                      <a:pt x="199" y="190"/>
                      <a:pt x="198" y="193"/>
                      <a:pt x="198" y="197"/>
                    </a:cubicBezTo>
                    <a:cubicBezTo>
                      <a:pt x="193" y="224"/>
                      <a:pt x="190" y="254"/>
                      <a:pt x="189" y="285"/>
                    </a:cubicBezTo>
                    <a:cubicBezTo>
                      <a:pt x="191" y="284"/>
                      <a:pt x="193" y="283"/>
                      <a:pt x="194" y="281"/>
                    </a:cubicBezTo>
                    <a:cubicBezTo>
                      <a:pt x="195" y="281"/>
                      <a:pt x="196" y="280"/>
                      <a:pt x="196" y="280"/>
                    </a:cubicBezTo>
                    <a:cubicBezTo>
                      <a:pt x="197" y="279"/>
                      <a:pt x="197" y="279"/>
                      <a:pt x="198" y="278"/>
                    </a:cubicBezTo>
                    <a:cubicBezTo>
                      <a:pt x="198" y="278"/>
                      <a:pt x="198" y="278"/>
                      <a:pt x="200" y="275"/>
                    </a:cubicBezTo>
                    <a:cubicBezTo>
                      <a:pt x="200" y="275"/>
                      <a:pt x="200" y="275"/>
                      <a:pt x="201" y="274"/>
                    </a:cubicBezTo>
                    <a:cubicBezTo>
                      <a:pt x="201" y="274"/>
                      <a:pt x="201" y="274"/>
                      <a:pt x="202" y="273"/>
                    </a:cubicBezTo>
                    <a:cubicBezTo>
                      <a:pt x="204" y="271"/>
                      <a:pt x="205" y="270"/>
                      <a:pt x="206" y="268"/>
                    </a:cubicBezTo>
                    <a:cubicBezTo>
                      <a:pt x="212" y="262"/>
                      <a:pt x="216" y="255"/>
                      <a:pt x="220" y="249"/>
                    </a:cubicBezTo>
                    <a:cubicBezTo>
                      <a:pt x="224" y="242"/>
                      <a:pt x="228" y="235"/>
                      <a:pt x="232" y="228"/>
                    </a:cubicBezTo>
                    <a:cubicBezTo>
                      <a:pt x="234" y="224"/>
                      <a:pt x="235" y="220"/>
                      <a:pt x="237" y="216"/>
                    </a:cubicBezTo>
                    <a:cubicBezTo>
                      <a:pt x="238" y="215"/>
                      <a:pt x="239" y="213"/>
                      <a:pt x="240" y="211"/>
                    </a:cubicBezTo>
                    <a:cubicBezTo>
                      <a:pt x="240" y="209"/>
                      <a:pt x="241" y="207"/>
                      <a:pt x="242" y="206"/>
                    </a:cubicBezTo>
                    <a:cubicBezTo>
                      <a:pt x="245" y="199"/>
                      <a:pt x="247" y="191"/>
                      <a:pt x="249" y="185"/>
                    </a:cubicBezTo>
                    <a:cubicBezTo>
                      <a:pt x="249" y="185"/>
                      <a:pt x="249" y="184"/>
                      <a:pt x="249" y="184"/>
                    </a:cubicBezTo>
                    <a:cubicBezTo>
                      <a:pt x="252" y="175"/>
                      <a:pt x="254" y="168"/>
                      <a:pt x="255" y="161"/>
                    </a:cubicBezTo>
                    <a:cubicBezTo>
                      <a:pt x="257" y="155"/>
                      <a:pt x="257" y="150"/>
                      <a:pt x="257" y="145"/>
                    </a:cubicBezTo>
                    <a:cubicBezTo>
                      <a:pt x="261" y="122"/>
                      <a:pt x="259" y="101"/>
                      <a:pt x="256" y="84"/>
                    </a:cubicBezTo>
                    <a:close/>
                    <a:moveTo>
                      <a:pt x="281" y="0"/>
                    </a:moveTo>
                    <a:cubicBezTo>
                      <a:pt x="281" y="0"/>
                      <a:pt x="281" y="1"/>
                      <a:pt x="283" y="4"/>
                    </a:cubicBezTo>
                    <a:cubicBezTo>
                      <a:pt x="285" y="7"/>
                      <a:pt x="288" y="11"/>
                      <a:pt x="291" y="17"/>
                    </a:cubicBezTo>
                    <a:cubicBezTo>
                      <a:pt x="293" y="23"/>
                      <a:pt x="297" y="30"/>
                      <a:pt x="301" y="38"/>
                    </a:cubicBezTo>
                    <a:cubicBezTo>
                      <a:pt x="302" y="40"/>
                      <a:pt x="302" y="43"/>
                      <a:pt x="303" y="45"/>
                    </a:cubicBezTo>
                    <a:cubicBezTo>
                      <a:pt x="304" y="46"/>
                      <a:pt x="304" y="48"/>
                      <a:pt x="305" y="49"/>
                    </a:cubicBezTo>
                    <a:cubicBezTo>
                      <a:pt x="305" y="49"/>
                      <a:pt x="305" y="49"/>
                      <a:pt x="305" y="50"/>
                    </a:cubicBezTo>
                    <a:cubicBezTo>
                      <a:pt x="305" y="51"/>
                      <a:pt x="305" y="52"/>
                      <a:pt x="306" y="52"/>
                    </a:cubicBezTo>
                    <a:cubicBezTo>
                      <a:pt x="307" y="57"/>
                      <a:pt x="309" y="62"/>
                      <a:pt x="310" y="69"/>
                    </a:cubicBezTo>
                    <a:cubicBezTo>
                      <a:pt x="313" y="80"/>
                      <a:pt x="314" y="93"/>
                      <a:pt x="315" y="107"/>
                    </a:cubicBezTo>
                    <a:cubicBezTo>
                      <a:pt x="316" y="121"/>
                      <a:pt x="315" y="136"/>
                      <a:pt x="313" y="152"/>
                    </a:cubicBezTo>
                    <a:cubicBezTo>
                      <a:pt x="313" y="155"/>
                      <a:pt x="312" y="157"/>
                      <a:pt x="312" y="160"/>
                    </a:cubicBezTo>
                    <a:cubicBezTo>
                      <a:pt x="310" y="167"/>
                      <a:pt x="309" y="175"/>
                      <a:pt x="307" y="183"/>
                    </a:cubicBezTo>
                    <a:cubicBezTo>
                      <a:pt x="305" y="189"/>
                      <a:pt x="304" y="195"/>
                      <a:pt x="302" y="201"/>
                    </a:cubicBezTo>
                    <a:cubicBezTo>
                      <a:pt x="299" y="209"/>
                      <a:pt x="296" y="218"/>
                      <a:pt x="292" y="226"/>
                    </a:cubicBezTo>
                    <a:cubicBezTo>
                      <a:pt x="292" y="227"/>
                      <a:pt x="291" y="228"/>
                      <a:pt x="291" y="230"/>
                    </a:cubicBezTo>
                    <a:cubicBezTo>
                      <a:pt x="290" y="231"/>
                      <a:pt x="290" y="232"/>
                      <a:pt x="289" y="233"/>
                    </a:cubicBezTo>
                    <a:cubicBezTo>
                      <a:pt x="288" y="235"/>
                      <a:pt x="287" y="237"/>
                      <a:pt x="286" y="239"/>
                    </a:cubicBezTo>
                    <a:cubicBezTo>
                      <a:pt x="284" y="243"/>
                      <a:pt x="282" y="247"/>
                      <a:pt x="281" y="251"/>
                    </a:cubicBezTo>
                    <a:cubicBezTo>
                      <a:pt x="276" y="259"/>
                      <a:pt x="271" y="268"/>
                      <a:pt x="265" y="277"/>
                    </a:cubicBezTo>
                    <a:cubicBezTo>
                      <a:pt x="263" y="281"/>
                      <a:pt x="260" y="285"/>
                      <a:pt x="257" y="289"/>
                    </a:cubicBezTo>
                    <a:cubicBezTo>
                      <a:pt x="254" y="294"/>
                      <a:pt x="250" y="297"/>
                      <a:pt x="246" y="302"/>
                    </a:cubicBezTo>
                    <a:cubicBezTo>
                      <a:pt x="245" y="304"/>
                      <a:pt x="243" y="306"/>
                      <a:pt x="241" y="307"/>
                    </a:cubicBezTo>
                    <a:cubicBezTo>
                      <a:pt x="241" y="307"/>
                      <a:pt x="241" y="307"/>
                      <a:pt x="240" y="309"/>
                    </a:cubicBezTo>
                    <a:cubicBezTo>
                      <a:pt x="240" y="309"/>
                      <a:pt x="240" y="309"/>
                      <a:pt x="238" y="311"/>
                    </a:cubicBezTo>
                    <a:cubicBezTo>
                      <a:pt x="238" y="311"/>
                      <a:pt x="238" y="311"/>
                      <a:pt x="237" y="312"/>
                    </a:cubicBezTo>
                    <a:cubicBezTo>
                      <a:pt x="236" y="312"/>
                      <a:pt x="236" y="313"/>
                      <a:pt x="236" y="313"/>
                    </a:cubicBezTo>
                    <a:cubicBezTo>
                      <a:pt x="234" y="314"/>
                      <a:pt x="233" y="316"/>
                      <a:pt x="233" y="317"/>
                    </a:cubicBezTo>
                    <a:cubicBezTo>
                      <a:pt x="231" y="318"/>
                      <a:pt x="230" y="319"/>
                      <a:pt x="229" y="320"/>
                    </a:cubicBezTo>
                    <a:cubicBezTo>
                      <a:pt x="227" y="321"/>
                      <a:pt x="224" y="323"/>
                      <a:pt x="222" y="325"/>
                    </a:cubicBezTo>
                    <a:cubicBezTo>
                      <a:pt x="218" y="329"/>
                      <a:pt x="214" y="332"/>
                      <a:pt x="210" y="334"/>
                    </a:cubicBezTo>
                    <a:cubicBezTo>
                      <a:pt x="206" y="337"/>
                      <a:pt x="201" y="341"/>
                      <a:pt x="197" y="344"/>
                    </a:cubicBezTo>
                    <a:cubicBezTo>
                      <a:pt x="195" y="345"/>
                      <a:pt x="192" y="347"/>
                      <a:pt x="190" y="349"/>
                    </a:cubicBezTo>
                    <a:cubicBezTo>
                      <a:pt x="190" y="361"/>
                      <a:pt x="191" y="374"/>
                      <a:pt x="192" y="386"/>
                    </a:cubicBezTo>
                    <a:cubicBezTo>
                      <a:pt x="192" y="397"/>
                      <a:pt x="193" y="407"/>
                      <a:pt x="194" y="418"/>
                    </a:cubicBezTo>
                    <a:cubicBezTo>
                      <a:pt x="195" y="425"/>
                      <a:pt x="196" y="431"/>
                      <a:pt x="196" y="438"/>
                    </a:cubicBezTo>
                    <a:cubicBezTo>
                      <a:pt x="198" y="437"/>
                      <a:pt x="200" y="437"/>
                      <a:pt x="202" y="437"/>
                    </a:cubicBezTo>
                    <a:cubicBezTo>
                      <a:pt x="207" y="436"/>
                      <a:pt x="212" y="435"/>
                      <a:pt x="218" y="435"/>
                    </a:cubicBezTo>
                    <a:cubicBezTo>
                      <a:pt x="221" y="435"/>
                      <a:pt x="224" y="435"/>
                      <a:pt x="226" y="436"/>
                    </a:cubicBezTo>
                    <a:cubicBezTo>
                      <a:pt x="228" y="436"/>
                      <a:pt x="229" y="436"/>
                      <a:pt x="231" y="436"/>
                    </a:cubicBezTo>
                    <a:cubicBezTo>
                      <a:pt x="231" y="436"/>
                      <a:pt x="231" y="436"/>
                      <a:pt x="233" y="437"/>
                    </a:cubicBezTo>
                    <a:cubicBezTo>
                      <a:pt x="233" y="437"/>
                      <a:pt x="233" y="437"/>
                      <a:pt x="235" y="437"/>
                    </a:cubicBezTo>
                    <a:cubicBezTo>
                      <a:pt x="236" y="437"/>
                      <a:pt x="238" y="438"/>
                      <a:pt x="239" y="438"/>
                    </a:cubicBezTo>
                    <a:cubicBezTo>
                      <a:pt x="241" y="438"/>
                      <a:pt x="242" y="439"/>
                      <a:pt x="243" y="439"/>
                    </a:cubicBezTo>
                    <a:cubicBezTo>
                      <a:pt x="246" y="439"/>
                      <a:pt x="248" y="440"/>
                      <a:pt x="251" y="441"/>
                    </a:cubicBezTo>
                    <a:cubicBezTo>
                      <a:pt x="251" y="441"/>
                      <a:pt x="251" y="442"/>
                      <a:pt x="252" y="442"/>
                    </a:cubicBezTo>
                    <a:cubicBezTo>
                      <a:pt x="257" y="443"/>
                      <a:pt x="262" y="446"/>
                      <a:pt x="268" y="449"/>
                    </a:cubicBezTo>
                    <a:cubicBezTo>
                      <a:pt x="269" y="450"/>
                      <a:pt x="270" y="450"/>
                      <a:pt x="271" y="451"/>
                    </a:cubicBezTo>
                    <a:cubicBezTo>
                      <a:pt x="271" y="451"/>
                      <a:pt x="271" y="451"/>
                      <a:pt x="275" y="453"/>
                    </a:cubicBezTo>
                    <a:cubicBezTo>
                      <a:pt x="275" y="453"/>
                      <a:pt x="275" y="453"/>
                      <a:pt x="277" y="455"/>
                    </a:cubicBezTo>
                    <a:cubicBezTo>
                      <a:pt x="277" y="455"/>
                      <a:pt x="277" y="455"/>
                      <a:pt x="279" y="456"/>
                    </a:cubicBezTo>
                    <a:cubicBezTo>
                      <a:pt x="280" y="456"/>
                      <a:pt x="281" y="457"/>
                      <a:pt x="282" y="459"/>
                    </a:cubicBezTo>
                    <a:cubicBezTo>
                      <a:pt x="287" y="462"/>
                      <a:pt x="292" y="467"/>
                      <a:pt x="295" y="471"/>
                    </a:cubicBezTo>
                    <a:cubicBezTo>
                      <a:pt x="311" y="490"/>
                      <a:pt x="321" y="512"/>
                      <a:pt x="323" y="537"/>
                    </a:cubicBezTo>
                    <a:cubicBezTo>
                      <a:pt x="324" y="541"/>
                      <a:pt x="324" y="545"/>
                      <a:pt x="324" y="549"/>
                    </a:cubicBezTo>
                    <a:cubicBezTo>
                      <a:pt x="324" y="557"/>
                      <a:pt x="323" y="565"/>
                      <a:pt x="322" y="572"/>
                    </a:cubicBezTo>
                    <a:cubicBezTo>
                      <a:pt x="319" y="585"/>
                      <a:pt x="316" y="597"/>
                      <a:pt x="310" y="608"/>
                    </a:cubicBezTo>
                    <a:cubicBezTo>
                      <a:pt x="299" y="630"/>
                      <a:pt x="282" y="649"/>
                      <a:pt x="262" y="663"/>
                    </a:cubicBezTo>
                    <a:cubicBezTo>
                      <a:pt x="253" y="669"/>
                      <a:pt x="243" y="675"/>
                      <a:pt x="233" y="679"/>
                    </a:cubicBezTo>
                    <a:cubicBezTo>
                      <a:pt x="232" y="680"/>
                      <a:pt x="231" y="680"/>
                      <a:pt x="230" y="681"/>
                    </a:cubicBezTo>
                    <a:cubicBezTo>
                      <a:pt x="230" y="681"/>
                      <a:pt x="229" y="681"/>
                      <a:pt x="229" y="681"/>
                    </a:cubicBezTo>
                    <a:cubicBezTo>
                      <a:pt x="230" y="689"/>
                      <a:pt x="230" y="696"/>
                      <a:pt x="231" y="702"/>
                    </a:cubicBezTo>
                    <a:cubicBezTo>
                      <a:pt x="231" y="707"/>
                      <a:pt x="232" y="712"/>
                      <a:pt x="232" y="716"/>
                    </a:cubicBezTo>
                    <a:cubicBezTo>
                      <a:pt x="233" y="721"/>
                      <a:pt x="233" y="726"/>
                      <a:pt x="233" y="731"/>
                    </a:cubicBezTo>
                    <a:cubicBezTo>
                      <a:pt x="233" y="731"/>
                      <a:pt x="233" y="731"/>
                      <a:pt x="233" y="734"/>
                    </a:cubicBezTo>
                    <a:cubicBezTo>
                      <a:pt x="233" y="734"/>
                      <a:pt x="233" y="734"/>
                      <a:pt x="233" y="738"/>
                    </a:cubicBezTo>
                    <a:cubicBezTo>
                      <a:pt x="233" y="739"/>
                      <a:pt x="233" y="740"/>
                      <a:pt x="233" y="741"/>
                    </a:cubicBezTo>
                    <a:cubicBezTo>
                      <a:pt x="233" y="741"/>
                      <a:pt x="233" y="741"/>
                      <a:pt x="233" y="745"/>
                    </a:cubicBezTo>
                    <a:cubicBezTo>
                      <a:pt x="233" y="755"/>
                      <a:pt x="233" y="765"/>
                      <a:pt x="232" y="775"/>
                    </a:cubicBezTo>
                    <a:cubicBezTo>
                      <a:pt x="230" y="785"/>
                      <a:pt x="228" y="795"/>
                      <a:pt x="224" y="804"/>
                    </a:cubicBezTo>
                    <a:cubicBezTo>
                      <a:pt x="223" y="809"/>
                      <a:pt x="221" y="813"/>
                      <a:pt x="219" y="818"/>
                    </a:cubicBezTo>
                    <a:cubicBezTo>
                      <a:pt x="217" y="823"/>
                      <a:pt x="214" y="827"/>
                      <a:pt x="211" y="831"/>
                    </a:cubicBezTo>
                    <a:cubicBezTo>
                      <a:pt x="206" y="840"/>
                      <a:pt x="199" y="848"/>
                      <a:pt x="191" y="855"/>
                    </a:cubicBezTo>
                    <a:cubicBezTo>
                      <a:pt x="188" y="856"/>
                      <a:pt x="186" y="858"/>
                      <a:pt x="184" y="860"/>
                    </a:cubicBezTo>
                    <a:cubicBezTo>
                      <a:pt x="182" y="861"/>
                      <a:pt x="180" y="862"/>
                      <a:pt x="178" y="864"/>
                    </a:cubicBezTo>
                    <a:cubicBezTo>
                      <a:pt x="173" y="866"/>
                      <a:pt x="168" y="868"/>
                      <a:pt x="164" y="870"/>
                    </a:cubicBezTo>
                    <a:cubicBezTo>
                      <a:pt x="159" y="872"/>
                      <a:pt x="154" y="873"/>
                      <a:pt x="149" y="874"/>
                    </a:cubicBezTo>
                    <a:cubicBezTo>
                      <a:pt x="149" y="874"/>
                      <a:pt x="149" y="874"/>
                      <a:pt x="149" y="874"/>
                    </a:cubicBezTo>
                    <a:cubicBezTo>
                      <a:pt x="149" y="874"/>
                      <a:pt x="149" y="874"/>
                      <a:pt x="148" y="874"/>
                    </a:cubicBezTo>
                    <a:cubicBezTo>
                      <a:pt x="148" y="874"/>
                      <a:pt x="148" y="874"/>
                      <a:pt x="146" y="874"/>
                    </a:cubicBezTo>
                    <a:cubicBezTo>
                      <a:pt x="146" y="874"/>
                      <a:pt x="146" y="874"/>
                      <a:pt x="144" y="875"/>
                    </a:cubicBezTo>
                    <a:cubicBezTo>
                      <a:pt x="144" y="875"/>
                      <a:pt x="144" y="875"/>
                      <a:pt x="142" y="875"/>
                    </a:cubicBezTo>
                    <a:cubicBezTo>
                      <a:pt x="141" y="875"/>
                      <a:pt x="139" y="875"/>
                      <a:pt x="138" y="876"/>
                    </a:cubicBezTo>
                    <a:cubicBezTo>
                      <a:pt x="138" y="876"/>
                      <a:pt x="138" y="876"/>
                      <a:pt x="135" y="876"/>
                    </a:cubicBezTo>
                    <a:cubicBezTo>
                      <a:pt x="125" y="876"/>
                      <a:pt x="115" y="875"/>
                      <a:pt x="106" y="873"/>
                    </a:cubicBezTo>
                    <a:cubicBezTo>
                      <a:pt x="87" y="868"/>
                      <a:pt x="70" y="857"/>
                      <a:pt x="59" y="843"/>
                    </a:cubicBezTo>
                    <a:cubicBezTo>
                      <a:pt x="48" y="829"/>
                      <a:pt x="42" y="812"/>
                      <a:pt x="40" y="796"/>
                    </a:cubicBezTo>
                    <a:cubicBezTo>
                      <a:pt x="40" y="794"/>
                      <a:pt x="40" y="792"/>
                      <a:pt x="40" y="790"/>
                    </a:cubicBezTo>
                    <a:cubicBezTo>
                      <a:pt x="39" y="788"/>
                      <a:pt x="39" y="786"/>
                      <a:pt x="39" y="784"/>
                    </a:cubicBezTo>
                    <a:cubicBezTo>
                      <a:pt x="39" y="780"/>
                      <a:pt x="40" y="776"/>
                      <a:pt x="40" y="772"/>
                    </a:cubicBezTo>
                    <a:cubicBezTo>
                      <a:pt x="41" y="765"/>
                      <a:pt x="43" y="758"/>
                      <a:pt x="46" y="750"/>
                    </a:cubicBezTo>
                    <a:cubicBezTo>
                      <a:pt x="51" y="737"/>
                      <a:pt x="58" y="725"/>
                      <a:pt x="68" y="716"/>
                    </a:cubicBezTo>
                    <a:cubicBezTo>
                      <a:pt x="73" y="712"/>
                      <a:pt x="78" y="709"/>
                      <a:pt x="84" y="706"/>
                    </a:cubicBezTo>
                    <a:cubicBezTo>
                      <a:pt x="87" y="705"/>
                      <a:pt x="90" y="703"/>
                      <a:pt x="93" y="703"/>
                    </a:cubicBezTo>
                    <a:cubicBezTo>
                      <a:pt x="93" y="703"/>
                      <a:pt x="94" y="703"/>
                      <a:pt x="95" y="702"/>
                    </a:cubicBezTo>
                    <a:cubicBezTo>
                      <a:pt x="95" y="702"/>
                      <a:pt x="96" y="702"/>
                      <a:pt x="97" y="702"/>
                    </a:cubicBezTo>
                    <a:cubicBezTo>
                      <a:pt x="97" y="702"/>
                      <a:pt x="97" y="702"/>
                      <a:pt x="98" y="702"/>
                    </a:cubicBezTo>
                    <a:cubicBezTo>
                      <a:pt x="98" y="702"/>
                      <a:pt x="98" y="702"/>
                      <a:pt x="99" y="702"/>
                    </a:cubicBezTo>
                    <a:cubicBezTo>
                      <a:pt x="99" y="702"/>
                      <a:pt x="99" y="702"/>
                      <a:pt x="99" y="702"/>
                    </a:cubicBezTo>
                    <a:cubicBezTo>
                      <a:pt x="100" y="702"/>
                      <a:pt x="101" y="702"/>
                      <a:pt x="101" y="701"/>
                    </a:cubicBezTo>
                    <a:cubicBezTo>
                      <a:pt x="107" y="701"/>
                      <a:pt x="112" y="701"/>
                      <a:pt x="117" y="702"/>
                    </a:cubicBezTo>
                    <a:cubicBezTo>
                      <a:pt x="122" y="704"/>
                      <a:pt x="127" y="706"/>
                      <a:pt x="131" y="708"/>
                    </a:cubicBezTo>
                    <a:cubicBezTo>
                      <a:pt x="139" y="713"/>
                      <a:pt x="145" y="719"/>
                      <a:pt x="149" y="725"/>
                    </a:cubicBezTo>
                    <a:cubicBezTo>
                      <a:pt x="153" y="730"/>
                      <a:pt x="155" y="736"/>
                      <a:pt x="157" y="740"/>
                    </a:cubicBezTo>
                    <a:cubicBezTo>
                      <a:pt x="158" y="744"/>
                      <a:pt x="159" y="748"/>
                      <a:pt x="160" y="750"/>
                    </a:cubicBezTo>
                    <a:cubicBezTo>
                      <a:pt x="160" y="752"/>
                      <a:pt x="160" y="753"/>
                      <a:pt x="160" y="753"/>
                    </a:cubicBezTo>
                    <a:cubicBezTo>
                      <a:pt x="160" y="753"/>
                      <a:pt x="160" y="753"/>
                      <a:pt x="157" y="754"/>
                    </a:cubicBezTo>
                    <a:cubicBezTo>
                      <a:pt x="157" y="754"/>
                      <a:pt x="156" y="753"/>
                      <a:pt x="156" y="751"/>
                    </a:cubicBezTo>
                    <a:cubicBezTo>
                      <a:pt x="155" y="749"/>
                      <a:pt x="154" y="746"/>
                      <a:pt x="151" y="742"/>
                    </a:cubicBezTo>
                    <a:cubicBezTo>
                      <a:pt x="149" y="738"/>
                      <a:pt x="147" y="734"/>
                      <a:pt x="143" y="730"/>
                    </a:cubicBezTo>
                    <a:cubicBezTo>
                      <a:pt x="138" y="725"/>
                      <a:pt x="133" y="722"/>
                      <a:pt x="126" y="719"/>
                    </a:cubicBezTo>
                    <a:cubicBezTo>
                      <a:pt x="123" y="717"/>
                      <a:pt x="119" y="716"/>
                      <a:pt x="115" y="716"/>
                    </a:cubicBezTo>
                    <a:cubicBezTo>
                      <a:pt x="113" y="715"/>
                      <a:pt x="111" y="715"/>
                      <a:pt x="110" y="715"/>
                    </a:cubicBezTo>
                    <a:cubicBezTo>
                      <a:pt x="108" y="716"/>
                      <a:pt x="107" y="716"/>
                      <a:pt x="107" y="716"/>
                    </a:cubicBezTo>
                    <a:cubicBezTo>
                      <a:pt x="107" y="716"/>
                      <a:pt x="107" y="716"/>
                      <a:pt x="105" y="716"/>
                    </a:cubicBezTo>
                    <a:cubicBezTo>
                      <a:pt x="105" y="716"/>
                      <a:pt x="105" y="716"/>
                      <a:pt x="103" y="716"/>
                    </a:cubicBezTo>
                    <a:cubicBezTo>
                      <a:pt x="103" y="716"/>
                      <a:pt x="103" y="717"/>
                      <a:pt x="102" y="717"/>
                    </a:cubicBezTo>
                    <a:cubicBezTo>
                      <a:pt x="102" y="717"/>
                      <a:pt x="102" y="717"/>
                      <a:pt x="101" y="717"/>
                    </a:cubicBezTo>
                    <a:cubicBezTo>
                      <a:pt x="101" y="717"/>
                      <a:pt x="101" y="717"/>
                      <a:pt x="101" y="717"/>
                    </a:cubicBezTo>
                    <a:cubicBezTo>
                      <a:pt x="101" y="717"/>
                      <a:pt x="101" y="717"/>
                      <a:pt x="101" y="717"/>
                    </a:cubicBezTo>
                    <a:cubicBezTo>
                      <a:pt x="100" y="718"/>
                      <a:pt x="99" y="718"/>
                      <a:pt x="98" y="718"/>
                    </a:cubicBezTo>
                    <a:cubicBezTo>
                      <a:pt x="95" y="719"/>
                      <a:pt x="94" y="720"/>
                      <a:pt x="91" y="721"/>
                    </a:cubicBezTo>
                    <a:cubicBezTo>
                      <a:pt x="88" y="724"/>
                      <a:pt x="84" y="726"/>
                      <a:pt x="81" y="730"/>
                    </a:cubicBezTo>
                    <a:cubicBezTo>
                      <a:pt x="75" y="737"/>
                      <a:pt x="70" y="747"/>
                      <a:pt x="66" y="758"/>
                    </a:cubicBezTo>
                    <a:cubicBezTo>
                      <a:pt x="65" y="763"/>
                      <a:pt x="64" y="769"/>
                      <a:pt x="64" y="775"/>
                    </a:cubicBezTo>
                    <a:cubicBezTo>
                      <a:pt x="64" y="777"/>
                      <a:pt x="64" y="780"/>
                      <a:pt x="64" y="784"/>
                    </a:cubicBezTo>
                    <a:cubicBezTo>
                      <a:pt x="64" y="785"/>
                      <a:pt x="65" y="787"/>
                      <a:pt x="65" y="788"/>
                    </a:cubicBezTo>
                    <a:cubicBezTo>
                      <a:pt x="65" y="789"/>
                      <a:pt x="65" y="790"/>
                      <a:pt x="65" y="792"/>
                    </a:cubicBezTo>
                    <a:cubicBezTo>
                      <a:pt x="65" y="792"/>
                      <a:pt x="65" y="792"/>
                      <a:pt x="66" y="794"/>
                    </a:cubicBezTo>
                    <a:cubicBezTo>
                      <a:pt x="66" y="794"/>
                      <a:pt x="66" y="794"/>
                      <a:pt x="66" y="795"/>
                    </a:cubicBezTo>
                    <a:cubicBezTo>
                      <a:pt x="66" y="795"/>
                      <a:pt x="66" y="795"/>
                      <a:pt x="66" y="795"/>
                    </a:cubicBezTo>
                    <a:cubicBezTo>
                      <a:pt x="66" y="795"/>
                      <a:pt x="66" y="795"/>
                      <a:pt x="66" y="796"/>
                    </a:cubicBezTo>
                    <a:cubicBezTo>
                      <a:pt x="66" y="796"/>
                      <a:pt x="66" y="796"/>
                      <a:pt x="66" y="796"/>
                    </a:cubicBezTo>
                    <a:cubicBezTo>
                      <a:pt x="66" y="798"/>
                      <a:pt x="67" y="799"/>
                      <a:pt x="67" y="800"/>
                    </a:cubicBezTo>
                    <a:cubicBezTo>
                      <a:pt x="68" y="802"/>
                      <a:pt x="69" y="804"/>
                      <a:pt x="69" y="805"/>
                    </a:cubicBezTo>
                    <a:cubicBezTo>
                      <a:pt x="70" y="806"/>
                      <a:pt x="70" y="808"/>
                      <a:pt x="71" y="809"/>
                    </a:cubicBezTo>
                    <a:cubicBezTo>
                      <a:pt x="72" y="812"/>
                      <a:pt x="74" y="814"/>
                      <a:pt x="76" y="817"/>
                    </a:cubicBezTo>
                    <a:cubicBezTo>
                      <a:pt x="77" y="820"/>
                      <a:pt x="79" y="822"/>
                      <a:pt x="81" y="824"/>
                    </a:cubicBezTo>
                    <a:cubicBezTo>
                      <a:pt x="89" y="834"/>
                      <a:pt x="101" y="840"/>
                      <a:pt x="113" y="843"/>
                    </a:cubicBezTo>
                    <a:cubicBezTo>
                      <a:pt x="119" y="844"/>
                      <a:pt x="126" y="844"/>
                      <a:pt x="133" y="844"/>
                    </a:cubicBezTo>
                    <a:cubicBezTo>
                      <a:pt x="133" y="844"/>
                      <a:pt x="133" y="844"/>
                      <a:pt x="135" y="843"/>
                    </a:cubicBezTo>
                    <a:cubicBezTo>
                      <a:pt x="136" y="843"/>
                      <a:pt x="137" y="843"/>
                      <a:pt x="137" y="843"/>
                    </a:cubicBezTo>
                    <a:cubicBezTo>
                      <a:pt x="137" y="843"/>
                      <a:pt x="137" y="843"/>
                      <a:pt x="138" y="843"/>
                    </a:cubicBezTo>
                    <a:cubicBezTo>
                      <a:pt x="138" y="843"/>
                      <a:pt x="138" y="843"/>
                      <a:pt x="140" y="843"/>
                    </a:cubicBezTo>
                    <a:cubicBezTo>
                      <a:pt x="140" y="843"/>
                      <a:pt x="140" y="843"/>
                      <a:pt x="141" y="842"/>
                    </a:cubicBezTo>
                    <a:cubicBezTo>
                      <a:pt x="141" y="842"/>
                      <a:pt x="141" y="842"/>
                      <a:pt x="142" y="842"/>
                    </a:cubicBezTo>
                    <a:cubicBezTo>
                      <a:pt x="142" y="842"/>
                      <a:pt x="142" y="842"/>
                      <a:pt x="142" y="842"/>
                    </a:cubicBezTo>
                    <a:cubicBezTo>
                      <a:pt x="142" y="842"/>
                      <a:pt x="142" y="842"/>
                      <a:pt x="143" y="842"/>
                    </a:cubicBezTo>
                    <a:cubicBezTo>
                      <a:pt x="144" y="842"/>
                      <a:pt x="146" y="841"/>
                      <a:pt x="148" y="841"/>
                    </a:cubicBezTo>
                    <a:cubicBezTo>
                      <a:pt x="149" y="840"/>
                      <a:pt x="151" y="839"/>
                      <a:pt x="152" y="839"/>
                    </a:cubicBezTo>
                    <a:cubicBezTo>
                      <a:pt x="155" y="838"/>
                      <a:pt x="159" y="836"/>
                      <a:pt x="161" y="835"/>
                    </a:cubicBezTo>
                    <a:cubicBezTo>
                      <a:pt x="163" y="834"/>
                      <a:pt x="164" y="833"/>
                      <a:pt x="165" y="832"/>
                    </a:cubicBezTo>
                    <a:cubicBezTo>
                      <a:pt x="167" y="831"/>
                      <a:pt x="168" y="830"/>
                      <a:pt x="169" y="829"/>
                    </a:cubicBezTo>
                    <a:cubicBezTo>
                      <a:pt x="174" y="824"/>
                      <a:pt x="179" y="819"/>
                      <a:pt x="183" y="813"/>
                    </a:cubicBezTo>
                    <a:cubicBezTo>
                      <a:pt x="187" y="807"/>
                      <a:pt x="190" y="800"/>
                      <a:pt x="193" y="793"/>
                    </a:cubicBezTo>
                    <a:cubicBezTo>
                      <a:pt x="196" y="786"/>
                      <a:pt x="197" y="778"/>
                      <a:pt x="199" y="770"/>
                    </a:cubicBezTo>
                    <a:cubicBezTo>
                      <a:pt x="200" y="762"/>
                      <a:pt x="201" y="753"/>
                      <a:pt x="201" y="745"/>
                    </a:cubicBezTo>
                    <a:cubicBezTo>
                      <a:pt x="201" y="745"/>
                      <a:pt x="201" y="745"/>
                      <a:pt x="201" y="742"/>
                    </a:cubicBezTo>
                    <a:cubicBezTo>
                      <a:pt x="201" y="741"/>
                      <a:pt x="201" y="740"/>
                      <a:pt x="201" y="738"/>
                    </a:cubicBezTo>
                    <a:cubicBezTo>
                      <a:pt x="201" y="738"/>
                      <a:pt x="201" y="738"/>
                      <a:pt x="201" y="735"/>
                    </a:cubicBezTo>
                    <a:cubicBezTo>
                      <a:pt x="201" y="735"/>
                      <a:pt x="201" y="735"/>
                      <a:pt x="201" y="732"/>
                    </a:cubicBezTo>
                    <a:cubicBezTo>
                      <a:pt x="201" y="727"/>
                      <a:pt x="201" y="723"/>
                      <a:pt x="201" y="718"/>
                    </a:cubicBezTo>
                    <a:cubicBezTo>
                      <a:pt x="201" y="713"/>
                      <a:pt x="201" y="708"/>
                      <a:pt x="201" y="702"/>
                    </a:cubicBezTo>
                    <a:cubicBezTo>
                      <a:pt x="200" y="699"/>
                      <a:pt x="200" y="695"/>
                      <a:pt x="200" y="690"/>
                    </a:cubicBezTo>
                    <a:cubicBezTo>
                      <a:pt x="198" y="691"/>
                      <a:pt x="197" y="691"/>
                      <a:pt x="195" y="691"/>
                    </a:cubicBezTo>
                    <a:cubicBezTo>
                      <a:pt x="171" y="696"/>
                      <a:pt x="145" y="696"/>
                      <a:pt x="121" y="690"/>
                    </a:cubicBezTo>
                    <a:cubicBezTo>
                      <a:pt x="112" y="687"/>
                      <a:pt x="102" y="684"/>
                      <a:pt x="93" y="679"/>
                    </a:cubicBezTo>
                    <a:cubicBezTo>
                      <a:pt x="79" y="673"/>
                      <a:pt x="65" y="664"/>
                      <a:pt x="54" y="653"/>
                    </a:cubicBezTo>
                    <a:cubicBezTo>
                      <a:pt x="50" y="649"/>
                      <a:pt x="45" y="644"/>
                      <a:pt x="41" y="639"/>
                    </a:cubicBezTo>
                    <a:cubicBezTo>
                      <a:pt x="41" y="639"/>
                      <a:pt x="40" y="638"/>
                      <a:pt x="40" y="637"/>
                    </a:cubicBezTo>
                    <a:cubicBezTo>
                      <a:pt x="40" y="637"/>
                      <a:pt x="40" y="637"/>
                      <a:pt x="39" y="636"/>
                    </a:cubicBezTo>
                    <a:cubicBezTo>
                      <a:pt x="39" y="636"/>
                      <a:pt x="39" y="636"/>
                      <a:pt x="38" y="635"/>
                    </a:cubicBezTo>
                    <a:cubicBezTo>
                      <a:pt x="38" y="635"/>
                      <a:pt x="38" y="635"/>
                      <a:pt x="38" y="635"/>
                    </a:cubicBezTo>
                    <a:cubicBezTo>
                      <a:pt x="38" y="635"/>
                      <a:pt x="38" y="635"/>
                      <a:pt x="35" y="631"/>
                    </a:cubicBezTo>
                    <a:cubicBezTo>
                      <a:pt x="35" y="631"/>
                      <a:pt x="35" y="631"/>
                      <a:pt x="33" y="627"/>
                    </a:cubicBezTo>
                    <a:cubicBezTo>
                      <a:pt x="33" y="627"/>
                      <a:pt x="33" y="627"/>
                      <a:pt x="30" y="623"/>
                    </a:cubicBezTo>
                    <a:cubicBezTo>
                      <a:pt x="23" y="613"/>
                      <a:pt x="17" y="601"/>
                      <a:pt x="13" y="589"/>
                    </a:cubicBezTo>
                    <a:cubicBezTo>
                      <a:pt x="11" y="583"/>
                      <a:pt x="9" y="578"/>
                      <a:pt x="7" y="572"/>
                    </a:cubicBezTo>
                    <a:cubicBezTo>
                      <a:pt x="7" y="572"/>
                      <a:pt x="7" y="571"/>
                      <a:pt x="7" y="570"/>
                    </a:cubicBezTo>
                    <a:cubicBezTo>
                      <a:pt x="7" y="570"/>
                      <a:pt x="7" y="570"/>
                      <a:pt x="6" y="568"/>
                    </a:cubicBezTo>
                    <a:cubicBezTo>
                      <a:pt x="6" y="568"/>
                      <a:pt x="6" y="568"/>
                      <a:pt x="6" y="567"/>
                    </a:cubicBezTo>
                    <a:cubicBezTo>
                      <a:pt x="6" y="567"/>
                      <a:pt x="6" y="567"/>
                      <a:pt x="6" y="566"/>
                    </a:cubicBezTo>
                    <a:cubicBezTo>
                      <a:pt x="6" y="566"/>
                      <a:pt x="6" y="566"/>
                      <a:pt x="5" y="566"/>
                    </a:cubicBezTo>
                    <a:cubicBezTo>
                      <a:pt x="5" y="564"/>
                      <a:pt x="5" y="563"/>
                      <a:pt x="5" y="561"/>
                    </a:cubicBezTo>
                    <a:cubicBezTo>
                      <a:pt x="5" y="561"/>
                      <a:pt x="5" y="561"/>
                      <a:pt x="4" y="556"/>
                    </a:cubicBezTo>
                    <a:cubicBezTo>
                      <a:pt x="4" y="556"/>
                      <a:pt x="4" y="556"/>
                      <a:pt x="3" y="552"/>
                    </a:cubicBezTo>
                    <a:cubicBezTo>
                      <a:pt x="3" y="551"/>
                      <a:pt x="3" y="550"/>
                      <a:pt x="2" y="549"/>
                    </a:cubicBezTo>
                    <a:cubicBezTo>
                      <a:pt x="1" y="537"/>
                      <a:pt x="0" y="525"/>
                      <a:pt x="1" y="513"/>
                    </a:cubicBezTo>
                    <a:cubicBezTo>
                      <a:pt x="3" y="488"/>
                      <a:pt x="10" y="463"/>
                      <a:pt x="20" y="441"/>
                    </a:cubicBezTo>
                    <a:cubicBezTo>
                      <a:pt x="20" y="441"/>
                      <a:pt x="20" y="440"/>
                      <a:pt x="21" y="439"/>
                    </a:cubicBezTo>
                    <a:cubicBezTo>
                      <a:pt x="24" y="432"/>
                      <a:pt x="28" y="425"/>
                      <a:pt x="32" y="418"/>
                    </a:cubicBezTo>
                    <a:cubicBezTo>
                      <a:pt x="41" y="404"/>
                      <a:pt x="52" y="391"/>
                      <a:pt x="64" y="379"/>
                    </a:cubicBezTo>
                    <a:cubicBezTo>
                      <a:pt x="72" y="370"/>
                      <a:pt x="81" y="363"/>
                      <a:pt x="91" y="355"/>
                    </a:cubicBezTo>
                    <a:cubicBezTo>
                      <a:pt x="91" y="355"/>
                      <a:pt x="91" y="355"/>
                      <a:pt x="93" y="354"/>
                    </a:cubicBezTo>
                    <a:cubicBezTo>
                      <a:pt x="93" y="354"/>
                      <a:pt x="93" y="354"/>
                      <a:pt x="95" y="353"/>
                    </a:cubicBezTo>
                    <a:cubicBezTo>
                      <a:pt x="95" y="353"/>
                      <a:pt x="95" y="353"/>
                      <a:pt x="99" y="350"/>
                    </a:cubicBezTo>
                    <a:cubicBezTo>
                      <a:pt x="101" y="349"/>
                      <a:pt x="103" y="347"/>
                      <a:pt x="105" y="346"/>
                    </a:cubicBezTo>
                    <a:cubicBezTo>
                      <a:pt x="109" y="343"/>
                      <a:pt x="113" y="340"/>
                      <a:pt x="118" y="337"/>
                    </a:cubicBezTo>
                    <a:cubicBezTo>
                      <a:pt x="130" y="329"/>
                      <a:pt x="142" y="320"/>
                      <a:pt x="153" y="312"/>
                    </a:cubicBezTo>
                    <a:cubicBezTo>
                      <a:pt x="158" y="308"/>
                      <a:pt x="163" y="305"/>
                      <a:pt x="168" y="302"/>
                    </a:cubicBezTo>
                    <a:cubicBezTo>
                      <a:pt x="170" y="300"/>
                      <a:pt x="172" y="299"/>
                      <a:pt x="173" y="297"/>
                    </a:cubicBezTo>
                    <a:cubicBezTo>
                      <a:pt x="173" y="295"/>
                      <a:pt x="173" y="292"/>
                      <a:pt x="173" y="289"/>
                    </a:cubicBezTo>
                    <a:cubicBezTo>
                      <a:pt x="173" y="288"/>
                      <a:pt x="173" y="286"/>
                      <a:pt x="173" y="285"/>
                    </a:cubicBezTo>
                    <a:cubicBezTo>
                      <a:pt x="173" y="253"/>
                      <a:pt x="174" y="222"/>
                      <a:pt x="177" y="193"/>
                    </a:cubicBezTo>
                    <a:cubicBezTo>
                      <a:pt x="177" y="190"/>
                      <a:pt x="178" y="186"/>
                      <a:pt x="178" y="183"/>
                    </a:cubicBezTo>
                    <a:cubicBezTo>
                      <a:pt x="178" y="183"/>
                      <a:pt x="178" y="183"/>
                      <a:pt x="178" y="183"/>
                    </a:cubicBezTo>
                    <a:cubicBezTo>
                      <a:pt x="179" y="179"/>
                      <a:pt x="179" y="176"/>
                      <a:pt x="180" y="172"/>
                    </a:cubicBezTo>
                    <a:cubicBezTo>
                      <a:pt x="180" y="168"/>
                      <a:pt x="181" y="164"/>
                      <a:pt x="182" y="160"/>
                    </a:cubicBezTo>
                    <a:cubicBezTo>
                      <a:pt x="182" y="157"/>
                      <a:pt x="183" y="155"/>
                      <a:pt x="184" y="152"/>
                    </a:cubicBezTo>
                    <a:cubicBezTo>
                      <a:pt x="185" y="145"/>
                      <a:pt x="187" y="139"/>
                      <a:pt x="189" y="133"/>
                    </a:cubicBezTo>
                    <a:cubicBezTo>
                      <a:pt x="192" y="126"/>
                      <a:pt x="194" y="121"/>
                      <a:pt x="196" y="115"/>
                    </a:cubicBezTo>
                    <a:cubicBezTo>
                      <a:pt x="201" y="104"/>
                      <a:pt x="207" y="94"/>
                      <a:pt x="212" y="85"/>
                    </a:cubicBezTo>
                    <a:cubicBezTo>
                      <a:pt x="218" y="76"/>
                      <a:pt x="224" y="68"/>
                      <a:pt x="229" y="61"/>
                    </a:cubicBezTo>
                    <a:cubicBezTo>
                      <a:pt x="229" y="61"/>
                      <a:pt x="229" y="61"/>
                      <a:pt x="281" y="0"/>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4" name="Group 123">
            <a:extLst>
              <a:ext uri="{FF2B5EF4-FFF2-40B4-BE49-F238E27FC236}">
                <a16:creationId xmlns:a16="http://schemas.microsoft.com/office/drawing/2014/main" id="{AEA82B20-8228-4DE1-8FA5-D1DACCBB9692}"/>
              </a:ext>
            </a:extLst>
          </p:cNvPr>
          <p:cNvGrpSpPr/>
          <p:nvPr/>
        </p:nvGrpSpPr>
        <p:grpSpPr>
          <a:xfrm>
            <a:off x="5114666" y="4053585"/>
            <a:ext cx="1589688" cy="2177235"/>
            <a:chOff x="5981135" y="3908111"/>
            <a:chExt cx="1589688" cy="2177235"/>
          </a:xfrm>
        </p:grpSpPr>
        <p:grpSp>
          <p:nvGrpSpPr>
            <p:cNvPr id="46" name="Group 45">
              <a:extLst>
                <a:ext uri="{FF2B5EF4-FFF2-40B4-BE49-F238E27FC236}">
                  <a16:creationId xmlns:a16="http://schemas.microsoft.com/office/drawing/2014/main" id="{6312ED91-A4C9-446D-8A16-40274F1A538D}"/>
                </a:ext>
              </a:extLst>
            </p:cNvPr>
            <p:cNvGrpSpPr/>
            <p:nvPr/>
          </p:nvGrpSpPr>
          <p:grpSpPr>
            <a:xfrm>
              <a:off x="5981135" y="3908111"/>
              <a:ext cx="1589688" cy="2177235"/>
              <a:chOff x="5981135" y="3908111"/>
              <a:chExt cx="1589688" cy="2177235"/>
            </a:xfrm>
          </p:grpSpPr>
          <p:grpSp>
            <p:nvGrpSpPr>
              <p:cNvPr id="92" name="Group 91">
                <a:extLst>
                  <a:ext uri="{FF2B5EF4-FFF2-40B4-BE49-F238E27FC236}">
                    <a16:creationId xmlns:a16="http://schemas.microsoft.com/office/drawing/2014/main" id="{CDC267BB-B41B-40AB-8A2B-727E6BEF6626}"/>
                  </a:ext>
                </a:extLst>
              </p:cNvPr>
              <p:cNvGrpSpPr>
                <a:grpSpLocks/>
              </p:cNvGrpSpPr>
              <p:nvPr/>
            </p:nvGrpSpPr>
            <p:grpSpPr>
              <a:xfrm>
                <a:off x="6085926" y="3908111"/>
                <a:ext cx="1380106" cy="1096604"/>
                <a:chOff x="2903302" y="1906042"/>
                <a:chExt cx="1840142" cy="1462139"/>
              </a:xfrm>
            </p:grpSpPr>
            <p:grpSp>
              <p:nvGrpSpPr>
                <p:cNvPr id="93" name="Group 92">
                  <a:extLst>
                    <a:ext uri="{FF2B5EF4-FFF2-40B4-BE49-F238E27FC236}">
                      <a16:creationId xmlns:a16="http://schemas.microsoft.com/office/drawing/2014/main" id="{A8CFD0B8-C8AC-4601-BE83-0C53F5DF0642}"/>
                    </a:ext>
                  </a:extLst>
                </p:cNvPr>
                <p:cNvGrpSpPr/>
                <p:nvPr/>
              </p:nvGrpSpPr>
              <p:grpSpPr>
                <a:xfrm>
                  <a:off x="2903302" y="1906042"/>
                  <a:ext cx="1840142" cy="1462138"/>
                  <a:chOff x="3031532" y="1906042"/>
                  <a:chExt cx="1840142" cy="1462138"/>
                </a:xfrm>
              </p:grpSpPr>
              <p:grpSp>
                <p:nvGrpSpPr>
                  <p:cNvPr id="95" name="Group 94">
                    <a:extLst>
                      <a:ext uri="{FF2B5EF4-FFF2-40B4-BE49-F238E27FC236}">
                        <a16:creationId xmlns:a16="http://schemas.microsoft.com/office/drawing/2014/main" id="{F2432E78-B954-4ADE-8CB6-3E51BA6D2EF7}"/>
                      </a:ext>
                    </a:extLst>
                  </p:cNvPr>
                  <p:cNvGrpSpPr/>
                  <p:nvPr/>
                </p:nvGrpSpPr>
                <p:grpSpPr>
                  <a:xfrm>
                    <a:off x="3426977" y="1906042"/>
                    <a:ext cx="1049253" cy="1206903"/>
                    <a:chOff x="3555292" y="1733086"/>
                    <a:chExt cx="1049253" cy="1206903"/>
                  </a:xfrm>
                </p:grpSpPr>
                <p:sp>
                  <p:nvSpPr>
                    <p:cNvPr id="97" name="Arc 96">
                      <a:extLst>
                        <a:ext uri="{FF2B5EF4-FFF2-40B4-BE49-F238E27FC236}">
                          <a16:creationId xmlns:a16="http://schemas.microsoft.com/office/drawing/2014/main" id="{49D3CA90-D449-4A50-8237-1264CCD77EB5}"/>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98" name="Arc 97">
                      <a:extLst>
                        <a:ext uri="{FF2B5EF4-FFF2-40B4-BE49-F238E27FC236}">
                          <a16:creationId xmlns:a16="http://schemas.microsoft.com/office/drawing/2014/main" id="{A37812C9-E8A1-4091-9D5C-4FCC5D621604}"/>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96" name="Straight Connector 95">
                    <a:extLst>
                      <a:ext uri="{FF2B5EF4-FFF2-40B4-BE49-F238E27FC236}">
                        <a16:creationId xmlns:a16="http://schemas.microsoft.com/office/drawing/2014/main" id="{D5DE0970-58E3-473E-ABBF-4EC48A37ACE6}"/>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42B6F26-C13D-4A60-AB3C-765B42F975ED}"/>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115" name="ee4pContent1">
                <a:extLst>
                  <a:ext uri="{FF2B5EF4-FFF2-40B4-BE49-F238E27FC236}">
                    <a16:creationId xmlns:a16="http://schemas.microsoft.com/office/drawing/2014/main" id="{788F5695-786C-46F3-BC1D-8FD0189EE490}"/>
                  </a:ext>
                </a:extLst>
              </p:cNvPr>
              <p:cNvSpPr txBox="1"/>
              <p:nvPr/>
            </p:nvSpPr>
            <p:spPr>
              <a:xfrm>
                <a:off x="5981135" y="5086467"/>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None/>
                </a:pPr>
                <a:r>
                  <a:rPr lang="en-US" sz="1400" dirty="0">
                    <a:solidFill>
                      <a:srgbClr val="000000"/>
                    </a:solidFill>
                    <a:latin typeface="+mj-lt"/>
                  </a:rPr>
                  <a:t>Americans will be able to </a:t>
                </a:r>
                <a:r>
                  <a:rPr lang="en-US" sz="1400" b="1" dirty="0">
                    <a:solidFill>
                      <a:srgbClr val="164484"/>
                    </a:solidFill>
                    <a:latin typeface="+mj-lt"/>
                  </a:rPr>
                  <a:t>connect</a:t>
                </a:r>
                <a:r>
                  <a:rPr lang="en-US" sz="1400" dirty="0">
                    <a:solidFill>
                      <a:srgbClr val="000000"/>
                    </a:solidFill>
                    <a:latin typeface="+mj-lt"/>
                  </a:rPr>
                  <a:t> to more family, friends, and loved ones</a:t>
                </a:r>
              </a:p>
            </p:txBody>
          </p:sp>
        </p:grpSp>
        <p:grpSp>
          <p:nvGrpSpPr>
            <p:cNvPr id="169" name="Group 168">
              <a:extLst>
                <a:ext uri="{FF2B5EF4-FFF2-40B4-BE49-F238E27FC236}">
                  <a16:creationId xmlns:a16="http://schemas.microsoft.com/office/drawing/2014/main" id="{3D0D74A6-4A25-4A82-9D81-F3B116E00EE9}"/>
                </a:ext>
              </a:extLst>
            </p:cNvPr>
            <p:cNvGrpSpPr>
              <a:grpSpLocks noChangeAspect="1"/>
            </p:cNvGrpSpPr>
            <p:nvPr/>
          </p:nvGrpSpPr>
          <p:grpSpPr>
            <a:xfrm>
              <a:off x="6477843" y="4056983"/>
              <a:ext cx="596271" cy="596271"/>
              <a:chOff x="7324948" y="3200401"/>
              <a:chExt cx="457200" cy="457200"/>
            </a:xfrm>
          </p:grpSpPr>
          <p:sp>
            <p:nvSpPr>
              <p:cNvPr id="170" name="AutoShape 8">
                <a:extLst>
                  <a:ext uri="{FF2B5EF4-FFF2-40B4-BE49-F238E27FC236}">
                    <a16:creationId xmlns:a16="http://schemas.microsoft.com/office/drawing/2014/main" id="{EDF2CBCE-6546-4DAF-B8B8-8D7CF9BEFA0E}"/>
                  </a:ext>
                </a:extLst>
              </p:cNvPr>
              <p:cNvSpPr>
                <a:spLocks noChangeAspect="1" noChangeArrowheads="1" noTextEdit="1"/>
              </p:cNvSpPr>
              <p:nvPr/>
            </p:nvSpPr>
            <p:spPr bwMode="auto">
              <a:xfrm>
                <a:off x="7324948"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0">
                <a:extLst>
                  <a:ext uri="{FF2B5EF4-FFF2-40B4-BE49-F238E27FC236}">
                    <a16:creationId xmlns:a16="http://schemas.microsoft.com/office/drawing/2014/main" id="{777529C1-9963-4C49-9F3F-0EB6DC22738F}"/>
                  </a:ext>
                </a:extLst>
              </p:cNvPr>
              <p:cNvSpPr>
                <a:spLocks noEditPoints="1"/>
              </p:cNvSpPr>
              <p:nvPr/>
            </p:nvSpPr>
            <p:spPr bwMode="auto">
              <a:xfrm>
                <a:off x="7340534" y="3284106"/>
                <a:ext cx="436226" cy="291138"/>
              </a:xfrm>
              <a:custGeom>
                <a:avLst/>
                <a:gdLst>
                  <a:gd name="T0" fmla="*/ 435 w 953"/>
                  <a:gd name="T1" fmla="*/ 114 h 636"/>
                  <a:gd name="T2" fmla="*/ 399 w 953"/>
                  <a:gd name="T3" fmla="*/ 136 h 636"/>
                  <a:gd name="T4" fmla="*/ 346 w 953"/>
                  <a:gd name="T5" fmla="*/ 190 h 636"/>
                  <a:gd name="T6" fmla="*/ 341 w 953"/>
                  <a:gd name="T7" fmla="*/ 136 h 636"/>
                  <a:gd name="T8" fmla="*/ 282 w 953"/>
                  <a:gd name="T9" fmla="*/ 114 h 636"/>
                  <a:gd name="T10" fmla="*/ 304 w 953"/>
                  <a:gd name="T11" fmla="*/ 0 h 636"/>
                  <a:gd name="T12" fmla="*/ 435 w 953"/>
                  <a:gd name="T13" fmla="*/ 21 h 636"/>
                  <a:gd name="T14" fmla="*/ 594 w 953"/>
                  <a:gd name="T15" fmla="*/ 212 h 636"/>
                  <a:gd name="T16" fmla="*/ 599 w 953"/>
                  <a:gd name="T17" fmla="*/ 158 h 636"/>
                  <a:gd name="T18" fmla="*/ 658 w 953"/>
                  <a:gd name="T19" fmla="*/ 136 h 636"/>
                  <a:gd name="T20" fmla="*/ 636 w 953"/>
                  <a:gd name="T21" fmla="*/ 22 h 636"/>
                  <a:gd name="T22" fmla="*/ 482 w 953"/>
                  <a:gd name="T23" fmla="*/ 23 h 636"/>
                  <a:gd name="T24" fmla="*/ 467 w 953"/>
                  <a:gd name="T25" fmla="*/ 43 h 636"/>
                  <a:gd name="T26" fmla="*/ 467 w 953"/>
                  <a:gd name="T27" fmla="*/ 136 h 636"/>
                  <a:gd name="T28" fmla="*/ 540 w 953"/>
                  <a:gd name="T29" fmla="*/ 158 h 636"/>
                  <a:gd name="T30" fmla="*/ 358 w 953"/>
                  <a:gd name="T31" fmla="*/ 406 h 636"/>
                  <a:gd name="T32" fmla="*/ 338 w 953"/>
                  <a:gd name="T33" fmla="*/ 359 h 636"/>
                  <a:gd name="T34" fmla="*/ 332 w 953"/>
                  <a:gd name="T35" fmla="*/ 293 h 636"/>
                  <a:gd name="T36" fmla="*/ 358 w 953"/>
                  <a:gd name="T37" fmla="*/ 238 h 636"/>
                  <a:gd name="T38" fmla="*/ 38 w 953"/>
                  <a:gd name="T39" fmla="*/ 313 h 636"/>
                  <a:gd name="T40" fmla="*/ 93 w 953"/>
                  <a:gd name="T41" fmla="*/ 601 h 636"/>
                  <a:gd name="T42" fmla="*/ 246 w 953"/>
                  <a:gd name="T43" fmla="*/ 635 h 636"/>
                  <a:gd name="T44" fmla="*/ 255 w 953"/>
                  <a:gd name="T45" fmla="*/ 562 h 636"/>
                  <a:gd name="T46" fmla="*/ 342 w 953"/>
                  <a:gd name="T47" fmla="*/ 517 h 636"/>
                  <a:gd name="T48" fmla="*/ 340 w 953"/>
                  <a:gd name="T49" fmla="*/ 463 h 636"/>
                  <a:gd name="T50" fmla="*/ 361 w 953"/>
                  <a:gd name="T51" fmla="*/ 409 h 636"/>
                  <a:gd name="T52" fmla="*/ 880 w 953"/>
                  <a:gd name="T53" fmla="*/ 308 h 636"/>
                  <a:gd name="T54" fmla="*/ 580 w 953"/>
                  <a:gd name="T55" fmla="*/ 281 h 636"/>
                  <a:gd name="T56" fmla="*/ 572 w 953"/>
                  <a:gd name="T57" fmla="*/ 340 h 636"/>
                  <a:gd name="T58" fmla="*/ 552 w 953"/>
                  <a:gd name="T59" fmla="*/ 410 h 636"/>
                  <a:gd name="T60" fmla="*/ 575 w 953"/>
                  <a:gd name="T61" fmla="*/ 464 h 636"/>
                  <a:gd name="T62" fmla="*/ 584 w 953"/>
                  <a:gd name="T63" fmla="*/ 547 h 636"/>
                  <a:gd name="T64" fmla="*/ 664 w 953"/>
                  <a:gd name="T65" fmla="*/ 555 h 636"/>
                  <a:gd name="T66" fmla="*/ 673 w 953"/>
                  <a:gd name="T67" fmla="*/ 636 h 636"/>
                  <a:gd name="T68" fmla="*/ 787 w 953"/>
                  <a:gd name="T69" fmla="*/ 611 h 636"/>
                  <a:gd name="T70" fmla="*/ 794 w 953"/>
                  <a:gd name="T71" fmla="*/ 55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3" h="636">
                    <a:moveTo>
                      <a:pt x="435" y="21"/>
                    </a:moveTo>
                    <a:cubicBezTo>
                      <a:pt x="435" y="114"/>
                      <a:pt x="435" y="114"/>
                      <a:pt x="435" y="114"/>
                    </a:cubicBezTo>
                    <a:cubicBezTo>
                      <a:pt x="435" y="122"/>
                      <a:pt x="436" y="129"/>
                      <a:pt x="439" y="136"/>
                    </a:cubicBezTo>
                    <a:cubicBezTo>
                      <a:pt x="399" y="136"/>
                      <a:pt x="399" y="136"/>
                      <a:pt x="399" y="136"/>
                    </a:cubicBezTo>
                    <a:cubicBezTo>
                      <a:pt x="380" y="155"/>
                      <a:pt x="359" y="179"/>
                      <a:pt x="353" y="185"/>
                    </a:cubicBezTo>
                    <a:cubicBezTo>
                      <a:pt x="350" y="188"/>
                      <a:pt x="348" y="190"/>
                      <a:pt x="346" y="190"/>
                    </a:cubicBezTo>
                    <a:cubicBezTo>
                      <a:pt x="342" y="190"/>
                      <a:pt x="341" y="185"/>
                      <a:pt x="341" y="185"/>
                    </a:cubicBezTo>
                    <a:cubicBezTo>
                      <a:pt x="341" y="136"/>
                      <a:pt x="341" y="136"/>
                      <a:pt x="341" y="136"/>
                    </a:cubicBezTo>
                    <a:cubicBezTo>
                      <a:pt x="304" y="136"/>
                      <a:pt x="304" y="136"/>
                      <a:pt x="304" y="136"/>
                    </a:cubicBezTo>
                    <a:cubicBezTo>
                      <a:pt x="292" y="136"/>
                      <a:pt x="282" y="126"/>
                      <a:pt x="282" y="114"/>
                    </a:cubicBezTo>
                    <a:cubicBezTo>
                      <a:pt x="282" y="21"/>
                      <a:pt x="282" y="21"/>
                      <a:pt x="282" y="21"/>
                    </a:cubicBezTo>
                    <a:cubicBezTo>
                      <a:pt x="282" y="9"/>
                      <a:pt x="292" y="0"/>
                      <a:pt x="304" y="0"/>
                    </a:cubicBezTo>
                    <a:cubicBezTo>
                      <a:pt x="387" y="0"/>
                      <a:pt x="423" y="0"/>
                      <a:pt x="439" y="0"/>
                    </a:cubicBezTo>
                    <a:cubicBezTo>
                      <a:pt x="436" y="6"/>
                      <a:pt x="435" y="14"/>
                      <a:pt x="435" y="21"/>
                    </a:cubicBezTo>
                    <a:close/>
                    <a:moveTo>
                      <a:pt x="587" y="208"/>
                    </a:moveTo>
                    <a:cubicBezTo>
                      <a:pt x="590" y="211"/>
                      <a:pt x="592" y="212"/>
                      <a:pt x="594" y="212"/>
                    </a:cubicBezTo>
                    <a:cubicBezTo>
                      <a:pt x="598" y="212"/>
                      <a:pt x="599" y="208"/>
                      <a:pt x="599" y="208"/>
                    </a:cubicBezTo>
                    <a:cubicBezTo>
                      <a:pt x="599" y="158"/>
                      <a:pt x="599" y="158"/>
                      <a:pt x="599" y="158"/>
                    </a:cubicBezTo>
                    <a:cubicBezTo>
                      <a:pt x="636" y="158"/>
                      <a:pt x="636" y="158"/>
                      <a:pt x="636" y="158"/>
                    </a:cubicBezTo>
                    <a:cubicBezTo>
                      <a:pt x="648" y="158"/>
                      <a:pt x="658" y="148"/>
                      <a:pt x="658" y="136"/>
                    </a:cubicBezTo>
                    <a:cubicBezTo>
                      <a:pt x="658" y="43"/>
                      <a:pt x="658" y="43"/>
                      <a:pt x="658" y="43"/>
                    </a:cubicBezTo>
                    <a:cubicBezTo>
                      <a:pt x="658" y="31"/>
                      <a:pt x="648" y="22"/>
                      <a:pt x="636" y="22"/>
                    </a:cubicBezTo>
                    <a:cubicBezTo>
                      <a:pt x="488" y="22"/>
                      <a:pt x="488" y="22"/>
                      <a:pt x="488" y="22"/>
                    </a:cubicBezTo>
                    <a:cubicBezTo>
                      <a:pt x="486" y="22"/>
                      <a:pt x="484" y="22"/>
                      <a:pt x="482" y="23"/>
                    </a:cubicBezTo>
                    <a:cubicBezTo>
                      <a:pt x="481" y="23"/>
                      <a:pt x="480" y="23"/>
                      <a:pt x="479" y="24"/>
                    </a:cubicBezTo>
                    <a:cubicBezTo>
                      <a:pt x="472" y="27"/>
                      <a:pt x="467" y="34"/>
                      <a:pt x="467" y="43"/>
                    </a:cubicBezTo>
                    <a:cubicBezTo>
                      <a:pt x="467" y="116"/>
                      <a:pt x="467" y="132"/>
                      <a:pt x="467" y="136"/>
                    </a:cubicBezTo>
                    <a:cubicBezTo>
                      <a:pt x="467" y="136"/>
                      <a:pt x="467" y="136"/>
                      <a:pt x="467" y="136"/>
                    </a:cubicBezTo>
                    <a:cubicBezTo>
                      <a:pt x="467" y="148"/>
                      <a:pt x="476" y="158"/>
                      <a:pt x="488" y="158"/>
                    </a:cubicBezTo>
                    <a:cubicBezTo>
                      <a:pt x="540" y="158"/>
                      <a:pt x="540" y="158"/>
                      <a:pt x="540" y="158"/>
                    </a:cubicBezTo>
                    <a:cubicBezTo>
                      <a:pt x="559" y="177"/>
                      <a:pt x="580" y="201"/>
                      <a:pt x="587" y="208"/>
                    </a:cubicBezTo>
                    <a:close/>
                    <a:moveTo>
                      <a:pt x="358" y="406"/>
                    </a:moveTo>
                    <a:cubicBezTo>
                      <a:pt x="353" y="401"/>
                      <a:pt x="347" y="389"/>
                      <a:pt x="342" y="375"/>
                    </a:cubicBezTo>
                    <a:cubicBezTo>
                      <a:pt x="341" y="371"/>
                      <a:pt x="339" y="365"/>
                      <a:pt x="338" y="359"/>
                    </a:cubicBezTo>
                    <a:cubicBezTo>
                      <a:pt x="337" y="351"/>
                      <a:pt x="335" y="342"/>
                      <a:pt x="333" y="336"/>
                    </a:cubicBezTo>
                    <a:cubicBezTo>
                      <a:pt x="330" y="327"/>
                      <a:pt x="331" y="293"/>
                      <a:pt x="332" y="293"/>
                    </a:cubicBezTo>
                    <a:cubicBezTo>
                      <a:pt x="332" y="293"/>
                      <a:pt x="333" y="293"/>
                      <a:pt x="333" y="292"/>
                    </a:cubicBezTo>
                    <a:cubicBezTo>
                      <a:pt x="338" y="271"/>
                      <a:pt x="368" y="238"/>
                      <a:pt x="358" y="238"/>
                    </a:cubicBezTo>
                    <a:cubicBezTo>
                      <a:pt x="264" y="240"/>
                      <a:pt x="294" y="214"/>
                      <a:pt x="193" y="214"/>
                    </a:cubicBezTo>
                    <a:cubicBezTo>
                      <a:pt x="104" y="214"/>
                      <a:pt x="60" y="267"/>
                      <a:pt x="38" y="313"/>
                    </a:cubicBezTo>
                    <a:cubicBezTo>
                      <a:pt x="0" y="395"/>
                      <a:pt x="63" y="476"/>
                      <a:pt x="93" y="508"/>
                    </a:cubicBezTo>
                    <a:cubicBezTo>
                      <a:pt x="93" y="601"/>
                      <a:pt x="93" y="601"/>
                      <a:pt x="93" y="601"/>
                    </a:cubicBezTo>
                    <a:cubicBezTo>
                      <a:pt x="93" y="605"/>
                      <a:pt x="95" y="609"/>
                      <a:pt x="99" y="610"/>
                    </a:cubicBezTo>
                    <a:cubicBezTo>
                      <a:pt x="161" y="635"/>
                      <a:pt x="240" y="635"/>
                      <a:pt x="246" y="635"/>
                    </a:cubicBezTo>
                    <a:cubicBezTo>
                      <a:pt x="251" y="635"/>
                      <a:pt x="255" y="632"/>
                      <a:pt x="255" y="627"/>
                    </a:cubicBezTo>
                    <a:cubicBezTo>
                      <a:pt x="255" y="562"/>
                      <a:pt x="255" y="562"/>
                      <a:pt x="255" y="562"/>
                    </a:cubicBezTo>
                    <a:cubicBezTo>
                      <a:pt x="293" y="566"/>
                      <a:pt x="322" y="562"/>
                      <a:pt x="330" y="558"/>
                    </a:cubicBezTo>
                    <a:cubicBezTo>
                      <a:pt x="340" y="553"/>
                      <a:pt x="341" y="540"/>
                      <a:pt x="342" y="517"/>
                    </a:cubicBezTo>
                    <a:cubicBezTo>
                      <a:pt x="343" y="514"/>
                      <a:pt x="343" y="514"/>
                      <a:pt x="343" y="514"/>
                    </a:cubicBezTo>
                    <a:cubicBezTo>
                      <a:pt x="344" y="499"/>
                      <a:pt x="342" y="477"/>
                      <a:pt x="340" y="463"/>
                    </a:cubicBezTo>
                    <a:cubicBezTo>
                      <a:pt x="369" y="462"/>
                      <a:pt x="377" y="448"/>
                      <a:pt x="378" y="442"/>
                    </a:cubicBezTo>
                    <a:cubicBezTo>
                      <a:pt x="382" y="432"/>
                      <a:pt x="372" y="421"/>
                      <a:pt x="361" y="409"/>
                    </a:cubicBezTo>
                    <a:cubicBezTo>
                      <a:pt x="359" y="408"/>
                      <a:pt x="358" y="407"/>
                      <a:pt x="358" y="406"/>
                    </a:cubicBezTo>
                    <a:close/>
                    <a:moveTo>
                      <a:pt x="880" y="308"/>
                    </a:moveTo>
                    <a:cubicBezTo>
                      <a:pt x="858" y="262"/>
                      <a:pt x="805" y="214"/>
                      <a:pt x="717" y="214"/>
                    </a:cubicBezTo>
                    <a:cubicBezTo>
                      <a:pt x="617" y="214"/>
                      <a:pt x="575" y="260"/>
                      <a:pt x="580" y="281"/>
                    </a:cubicBezTo>
                    <a:cubicBezTo>
                      <a:pt x="582" y="285"/>
                      <a:pt x="584" y="288"/>
                      <a:pt x="587" y="292"/>
                    </a:cubicBezTo>
                    <a:cubicBezTo>
                      <a:pt x="582" y="298"/>
                      <a:pt x="570" y="314"/>
                      <a:pt x="572" y="340"/>
                    </a:cubicBezTo>
                    <a:cubicBezTo>
                      <a:pt x="573" y="354"/>
                      <a:pt x="571" y="376"/>
                      <a:pt x="570" y="381"/>
                    </a:cubicBezTo>
                    <a:cubicBezTo>
                      <a:pt x="566" y="390"/>
                      <a:pt x="560" y="402"/>
                      <a:pt x="552" y="410"/>
                    </a:cubicBezTo>
                    <a:cubicBezTo>
                      <a:pt x="544" y="418"/>
                      <a:pt x="531" y="434"/>
                      <a:pt x="536" y="445"/>
                    </a:cubicBezTo>
                    <a:cubicBezTo>
                      <a:pt x="539" y="452"/>
                      <a:pt x="551" y="464"/>
                      <a:pt x="575" y="464"/>
                    </a:cubicBezTo>
                    <a:cubicBezTo>
                      <a:pt x="574" y="472"/>
                      <a:pt x="574" y="482"/>
                      <a:pt x="574" y="493"/>
                    </a:cubicBezTo>
                    <a:cubicBezTo>
                      <a:pt x="574" y="532"/>
                      <a:pt x="579" y="542"/>
                      <a:pt x="584" y="547"/>
                    </a:cubicBezTo>
                    <a:cubicBezTo>
                      <a:pt x="588" y="552"/>
                      <a:pt x="598" y="557"/>
                      <a:pt x="635" y="557"/>
                    </a:cubicBezTo>
                    <a:cubicBezTo>
                      <a:pt x="642" y="557"/>
                      <a:pt x="654" y="556"/>
                      <a:pt x="664" y="555"/>
                    </a:cubicBezTo>
                    <a:cubicBezTo>
                      <a:pt x="664" y="627"/>
                      <a:pt x="664" y="627"/>
                      <a:pt x="664" y="627"/>
                    </a:cubicBezTo>
                    <a:cubicBezTo>
                      <a:pt x="664" y="632"/>
                      <a:pt x="668" y="636"/>
                      <a:pt x="673" y="636"/>
                    </a:cubicBezTo>
                    <a:cubicBezTo>
                      <a:pt x="674" y="636"/>
                      <a:pt x="677" y="636"/>
                      <a:pt x="683" y="636"/>
                    </a:cubicBezTo>
                    <a:cubicBezTo>
                      <a:pt x="703" y="636"/>
                      <a:pt x="749" y="634"/>
                      <a:pt x="787" y="611"/>
                    </a:cubicBezTo>
                    <a:cubicBezTo>
                      <a:pt x="790" y="609"/>
                      <a:pt x="791" y="606"/>
                      <a:pt x="792" y="603"/>
                    </a:cubicBezTo>
                    <a:cubicBezTo>
                      <a:pt x="794" y="556"/>
                      <a:pt x="794" y="556"/>
                      <a:pt x="794" y="556"/>
                    </a:cubicBezTo>
                    <a:cubicBezTo>
                      <a:pt x="856" y="532"/>
                      <a:pt x="953" y="460"/>
                      <a:pt x="880" y="308"/>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 name="Group 1">
            <a:extLst>
              <a:ext uri="{FF2B5EF4-FFF2-40B4-BE49-F238E27FC236}">
                <a16:creationId xmlns:a16="http://schemas.microsoft.com/office/drawing/2014/main" id="{59944BF2-E9A4-42E7-95B4-1347C91EE0D3}"/>
              </a:ext>
            </a:extLst>
          </p:cNvPr>
          <p:cNvGrpSpPr/>
          <p:nvPr/>
        </p:nvGrpSpPr>
        <p:grpSpPr>
          <a:xfrm>
            <a:off x="6952948" y="4053585"/>
            <a:ext cx="1589688" cy="2177235"/>
            <a:chOff x="6874387" y="4053585"/>
            <a:chExt cx="1589688" cy="2177235"/>
          </a:xfrm>
        </p:grpSpPr>
        <p:grpSp>
          <p:nvGrpSpPr>
            <p:cNvPr id="118" name="Group 117">
              <a:extLst>
                <a:ext uri="{FF2B5EF4-FFF2-40B4-BE49-F238E27FC236}">
                  <a16:creationId xmlns:a16="http://schemas.microsoft.com/office/drawing/2014/main" id="{2CE5E14C-222C-4EC1-B094-9B68EEB50A79}"/>
                </a:ext>
              </a:extLst>
            </p:cNvPr>
            <p:cNvGrpSpPr/>
            <p:nvPr/>
          </p:nvGrpSpPr>
          <p:grpSpPr>
            <a:xfrm>
              <a:off x="6874387" y="4053585"/>
              <a:ext cx="1589688" cy="2177235"/>
              <a:chOff x="7799777" y="3908111"/>
              <a:chExt cx="1589688" cy="2177235"/>
            </a:xfrm>
          </p:grpSpPr>
          <p:grpSp>
            <p:nvGrpSpPr>
              <p:cNvPr id="99" name="Group 98">
                <a:extLst>
                  <a:ext uri="{FF2B5EF4-FFF2-40B4-BE49-F238E27FC236}">
                    <a16:creationId xmlns:a16="http://schemas.microsoft.com/office/drawing/2014/main" id="{FAD8E5FD-3C84-45FD-9CAC-AA17C27AAA20}"/>
                  </a:ext>
                </a:extLst>
              </p:cNvPr>
              <p:cNvGrpSpPr>
                <a:grpSpLocks/>
              </p:cNvGrpSpPr>
              <p:nvPr/>
            </p:nvGrpSpPr>
            <p:grpSpPr>
              <a:xfrm>
                <a:off x="7904568" y="3908111"/>
                <a:ext cx="1380106" cy="1096604"/>
                <a:chOff x="2903302" y="1906042"/>
                <a:chExt cx="1840142" cy="1462139"/>
              </a:xfrm>
            </p:grpSpPr>
            <p:grpSp>
              <p:nvGrpSpPr>
                <p:cNvPr id="100" name="Group 99">
                  <a:extLst>
                    <a:ext uri="{FF2B5EF4-FFF2-40B4-BE49-F238E27FC236}">
                      <a16:creationId xmlns:a16="http://schemas.microsoft.com/office/drawing/2014/main" id="{569F92AC-6128-4005-9EFE-C319A5E1C49F}"/>
                    </a:ext>
                  </a:extLst>
                </p:cNvPr>
                <p:cNvGrpSpPr/>
                <p:nvPr/>
              </p:nvGrpSpPr>
              <p:grpSpPr>
                <a:xfrm>
                  <a:off x="2903302" y="1906042"/>
                  <a:ext cx="1840142" cy="1462138"/>
                  <a:chOff x="3031532" y="1906042"/>
                  <a:chExt cx="1840142" cy="1462138"/>
                </a:xfrm>
              </p:grpSpPr>
              <p:grpSp>
                <p:nvGrpSpPr>
                  <p:cNvPr id="102" name="Group 101">
                    <a:extLst>
                      <a:ext uri="{FF2B5EF4-FFF2-40B4-BE49-F238E27FC236}">
                        <a16:creationId xmlns:a16="http://schemas.microsoft.com/office/drawing/2014/main" id="{E51D44DE-D12D-40AB-9032-81C87852AB66}"/>
                      </a:ext>
                    </a:extLst>
                  </p:cNvPr>
                  <p:cNvGrpSpPr/>
                  <p:nvPr/>
                </p:nvGrpSpPr>
                <p:grpSpPr>
                  <a:xfrm>
                    <a:off x="3426977" y="1906042"/>
                    <a:ext cx="1049253" cy="1206903"/>
                    <a:chOff x="3555292" y="1733086"/>
                    <a:chExt cx="1049253" cy="1206903"/>
                  </a:xfrm>
                </p:grpSpPr>
                <p:sp>
                  <p:nvSpPr>
                    <p:cNvPr id="104" name="Arc 103">
                      <a:extLst>
                        <a:ext uri="{FF2B5EF4-FFF2-40B4-BE49-F238E27FC236}">
                          <a16:creationId xmlns:a16="http://schemas.microsoft.com/office/drawing/2014/main" id="{283A7E1D-39C8-4C74-B52A-55A77A0719A1}"/>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105" name="Arc 104">
                      <a:extLst>
                        <a:ext uri="{FF2B5EF4-FFF2-40B4-BE49-F238E27FC236}">
                          <a16:creationId xmlns:a16="http://schemas.microsoft.com/office/drawing/2014/main" id="{DE98BC56-0D17-4ECE-BF65-1DD0E898EF78}"/>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103" name="Straight Connector 102">
                    <a:extLst>
                      <a:ext uri="{FF2B5EF4-FFF2-40B4-BE49-F238E27FC236}">
                        <a16:creationId xmlns:a16="http://schemas.microsoft.com/office/drawing/2014/main" id="{E3A467C2-07BE-422E-8B3A-367B51DF6548}"/>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101" name="Straight Connector 100">
                  <a:extLst>
                    <a:ext uri="{FF2B5EF4-FFF2-40B4-BE49-F238E27FC236}">
                      <a16:creationId xmlns:a16="http://schemas.microsoft.com/office/drawing/2014/main" id="{A38B3751-2BDA-40B1-B94D-F780FA0AB577}"/>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116" name="ee4pContent1">
                <a:extLst>
                  <a:ext uri="{FF2B5EF4-FFF2-40B4-BE49-F238E27FC236}">
                    <a16:creationId xmlns:a16="http://schemas.microsoft.com/office/drawing/2014/main" id="{71A15CCE-D843-443A-B7E2-2D574442C8CE}"/>
                  </a:ext>
                </a:extLst>
              </p:cNvPr>
              <p:cNvSpPr txBox="1"/>
              <p:nvPr/>
            </p:nvSpPr>
            <p:spPr>
              <a:xfrm>
                <a:off x="7799777" y="5086467"/>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Americans will be able to more easily practice their </a:t>
                </a:r>
                <a:r>
                  <a:rPr lang="en-US" sz="1400" b="1" dirty="0">
                    <a:solidFill>
                      <a:srgbClr val="164484"/>
                    </a:solidFill>
                    <a:latin typeface="+mj-lt"/>
                  </a:rPr>
                  <a:t>faith</a:t>
                </a:r>
              </a:p>
            </p:txBody>
          </p:sp>
        </p:grpSp>
        <p:grpSp>
          <p:nvGrpSpPr>
            <p:cNvPr id="10" name="Group 9">
              <a:extLst>
                <a:ext uri="{FF2B5EF4-FFF2-40B4-BE49-F238E27FC236}">
                  <a16:creationId xmlns:a16="http://schemas.microsoft.com/office/drawing/2014/main" id="{5D6CBA47-D9EF-48C1-9119-40454131493D}"/>
                </a:ext>
              </a:extLst>
            </p:cNvPr>
            <p:cNvGrpSpPr/>
            <p:nvPr/>
          </p:nvGrpSpPr>
          <p:grpSpPr>
            <a:xfrm>
              <a:off x="7371095" y="4172640"/>
              <a:ext cx="596271" cy="596271"/>
              <a:chOff x="8296485" y="4027166"/>
              <a:chExt cx="596271" cy="596271"/>
            </a:xfrm>
          </p:grpSpPr>
          <p:grpSp>
            <p:nvGrpSpPr>
              <p:cNvPr id="163" name="Group 162">
                <a:extLst>
                  <a:ext uri="{FF2B5EF4-FFF2-40B4-BE49-F238E27FC236}">
                    <a16:creationId xmlns:a16="http://schemas.microsoft.com/office/drawing/2014/main" id="{C1D08DAD-7DCB-4A9A-92BF-0ED898ACB03F}"/>
                  </a:ext>
                </a:extLst>
              </p:cNvPr>
              <p:cNvGrpSpPr>
                <a:grpSpLocks noChangeAspect="1"/>
              </p:cNvGrpSpPr>
              <p:nvPr/>
            </p:nvGrpSpPr>
            <p:grpSpPr>
              <a:xfrm>
                <a:off x="8296485" y="4027166"/>
                <a:ext cx="596271" cy="596271"/>
                <a:chOff x="7324950" y="3200401"/>
                <a:chExt cx="457200" cy="457200"/>
              </a:xfrm>
            </p:grpSpPr>
            <p:sp>
              <p:nvSpPr>
                <p:cNvPr id="164" name="AutoShape 22">
                  <a:extLst>
                    <a:ext uri="{FF2B5EF4-FFF2-40B4-BE49-F238E27FC236}">
                      <a16:creationId xmlns:a16="http://schemas.microsoft.com/office/drawing/2014/main" id="{06313B50-2F52-4D81-A7C0-C8022CC539B8}"/>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4">
                  <a:extLst>
                    <a:ext uri="{FF2B5EF4-FFF2-40B4-BE49-F238E27FC236}">
                      <a16:creationId xmlns:a16="http://schemas.microsoft.com/office/drawing/2014/main" id="{981F0690-E2DB-46F4-8DDD-D696D01791A4}"/>
                    </a:ext>
                  </a:extLst>
                </p:cNvPr>
                <p:cNvSpPr>
                  <a:spLocks noEditPoints="1"/>
                </p:cNvSpPr>
                <p:nvPr/>
              </p:nvSpPr>
              <p:spPr bwMode="auto">
                <a:xfrm>
                  <a:off x="7359779" y="3227918"/>
                  <a:ext cx="388120" cy="402744"/>
                </a:xfrm>
                <a:custGeom>
                  <a:avLst/>
                  <a:gdLst>
                    <a:gd name="T0" fmla="*/ 689 w 848"/>
                    <a:gd name="T1" fmla="*/ 564 h 880"/>
                    <a:gd name="T2" fmla="*/ 678 w 848"/>
                    <a:gd name="T3" fmla="*/ 668 h 880"/>
                    <a:gd name="T4" fmla="*/ 598 w 848"/>
                    <a:gd name="T5" fmla="*/ 656 h 880"/>
                    <a:gd name="T6" fmla="*/ 644 w 848"/>
                    <a:gd name="T7" fmla="*/ 518 h 880"/>
                    <a:gd name="T8" fmla="*/ 359 w 848"/>
                    <a:gd name="T9" fmla="*/ 756 h 880"/>
                    <a:gd name="T10" fmla="*/ 489 w 848"/>
                    <a:gd name="T11" fmla="*/ 764 h 880"/>
                    <a:gd name="T12" fmla="*/ 489 w 848"/>
                    <a:gd name="T13" fmla="*/ 540 h 880"/>
                    <a:gd name="T14" fmla="*/ 359 w 848"/>
                    <a:gd name="T15" fmla="*/ 540 h 880"/>
                    <a:gd name="T16" fmla="*/ 159 w 848"/>
                    <a:gd name="T17" fmla="*/ 656 h 880"/>
                    <a:gd name="T18" fmla="*/ 240 w 848"/>
                    <a:gd name="T19" fmla="*/ 668 h 880"/>
                    <a:gd name="T20" fmla="*/ 251 w 848"/>
                    <a:gd name="T21" fmla="*/ 564 h 880"/>
                    <a:gd name="T22" fmla="*/ 159 w 848"/>
                    <a:gd name="T23" fmla="*/ 564 h 880"/>
                    <a:gd name="T24" fmla="*/ 67 w 848"/>
                    <a:gd name="T25" fmla="*/ 764 h 880"/>
                    <a:gd name="T26" fmla="*/ 67 w 848"/>
                    <a:gd name="T27" fmla="*/ 326 h 880"/>
                    <a:gd name="T28" fmla="*/ 261 w 848"/>
                    <a:gd name="T29" fmla="*/ 314 h 880"/>
                    <a:gd name="T30" fmla="*/ 262 w 848"/>
                    <a:gd name="T31" fmla="*/ 288 h 880"/>
                    <a:gd name="T32" fmla="*/ 392 w 848"/>
                    <a:gd name="T33" fmla="*/ 135 h 880"/>
                    <a:gd name="T34" fmla="*/ 413 w 848"/>
                    <a:gd name="T35" fmla="*/ 110 h 880"/>
                    <a:gd name="T36" fmla="*/ 387 w 848"/>
                    <a:gd name="T37" fmla="*/ 45 h 880"/>
                    <a:gd name="T38" fmla="*/ 387 w 848"/>
                    <a:gd name="T39" fmla="*/ 22 h 880"/>
                    <a:gd name="T40" fmla="*/ 413 w 848"/>
                    <a:gd name="T41" fmla="*/ 12 h 880"/>
                    <a:gd name="T42" fmla="*/ 436 w 848"/>
                    <a:gd name="T43" fmla="*/ 12 h 880"/>
                    <a:gd name="T44" fmla="*/ 463 w 848"/>
                    <a:gd name="T45" fmla="*/ 22 h 880"/>
                    <a:gd name="T46" fmla="*/ 463 w 848"/>
                    <a:gd name="T47" fmla="*/ 45 h 880"/>
                    <a:gd name="T48" fmla="*/ 436 w 848"/>
                    <a:gd name="T49" fmla="*/ 110 h 880"/>
                    <a:gd name="T50" fmla="*/ 457 w 848"/>
                    <a:gd name="T51" fmla="*/ 135 h 880"/>
                    <a:gd name="T52" fmla="*/ 587 w 848"/>
                    <a:gd name="T53" fmla="*/ 288 h 880"/>
                    <a:gd name="T54" fmla="*/ 770 w 848"/>
                    <a:gd name="T55" fmla="*/ 314 h 880"/>
                    <a:gd name="T56" fmla="*/ 781 w 848"/>
                    <a:gd name="T57" fmla="*/ 725 h 880"/>
                    <a:gd name="T58" fmla="*/ 770 w 848"/>
                    <a:gd name="T59" fmla="*/ 764 h 880"/>
                    <a:gd name="T60" fmla="*/ 735 w 848"/>
                    <a:gd name="T61" fmla="*/ 764 h 880"/>
                    <a:gd name="T62" fmla="*/ 735 w 848"/>
                    <a:gd name="T63" fmla="*/ 416 h 880"/>
                    <a:gd name="T64" fmla="*/ 547 w 848"/>
                    <a:gd name="T65" fmla="*/ 756 h 880"/>
                    <a:gd name="T66" fmla="*/ 525 w 848"/>
                    <a:gd name="T67" fmla="*/ 764 h 880"/>
                    <a:gd name="T68" fmla="*/ 525 w 848"/>
                    <a:gd name="T69" fmla="*/ 416 h 880"/>
                    <a:gd name="T70" fmla="*/ 323 w 848"/>
                    <a:gd name="T71" fmla="*/ 756 h 880"/>
                    <a:gd name="T72" fmla="*/ 301 w 848"/>
                    <a:gd name="T73" fmla="*/ 764 h 880"/>
                    <a:gd name="T74" fmla="*/ 301 w 848"/>
                    <a:gd name="T75" fmla="*/ 416 h 880"/>
                    <a:gd name="T76" fmla="*/ 113 w 848"/>
                    <a:gd name="T77" fmla="*/ 756 h 880"/>
                    <a:gd name="T78" fmla="*/ 90 w 848"/>
                    <a:gd name="T79" fmla="*/ 764 h 880"/>
                    <a:gd name="T80" fmla="*/ 113 w 848"/>
                    <a:gd name="T81" fmla="*/ 393 h 880"/>
                    <a:gd name="T82" fmla="*/ 735 w 848"/>
                    <a:gd name="T83" fmla="*/ 359 h 880"/>
                    <a:gd name="T84" fmla="*/ 113 w 848"/>
                    <a:gd name="T85" fmla="*/ 393 h 880"/>
                    <a:gd name="T86" fmla="*/ 803 w 848"/>
                    <a:gd name="T87" fmla="*/ 815 h 880"/>
                    <a:gd name="T88" fmla="*/ 803 w 848"/>
                    <a:gd name="T89" fmla="*/ 799 h 880"/>
                    <a:gd name="T90" fmla="*/ 792 w 848"/>
                    <a:gd name="T91" fmla="*/ 788 h 880"/>
                    <a:gd name="T92" fmla="*/ 770 w 848"/>
                    <a:gd name="T93" fmla="*/ 788 h 880"/>
                    <a:gd name="T94" fmla="*/ 90 w 848"/>
                    <a:gd name="T95" fmla="*/ 788 h 880"/>
                    <a:gd name="T96" fmla="*/ 66 w 848"/>
                    <a:gd name="T97" fmla="*/ 788 h 880"/>
                    <a:gd name="T98" fmla="*/ 55 w 848"/>
                    <a:gd name="T99" fmla="*/ 788 h 880"/>
                    <a:gd name="T100" fmla="*/ 45 w 848"/>
                    <a:gd name="T101" fmla="*/ 801 h 880"/>
                    <a:gd name="T102" fmla="*/ 11 w 848"/>
                    <a:gd name="T103" fmla="*/ 815 h 880"/>
                    <a:gd name="T104" fmla="*/ 0 w 848"/>
                    <a:gd name="T105" fmla="*/ 869 h 880"/>
                    <a:gd name="T106" fmla="*/ 837 w 848"/>
                    <a:gd name="T107" fmla="*/ 880 h 880"/>
                    <a:gd name="T108" fmla="*/ 848 w 848"/>
                    <a:gd name="T109" fmla="*/ 82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8" h="880">
                      <a:moveTo>
                        <a:pt x="644" y="518"/>
                      </a:moveTo>
                      <a:cubicBezTo>
                        <a:pt x="669" y="518"/>
                        <a:pt x="689" y="539"/>
                        <a:pt x="689" y="564"/>
                      </a:cubicBezTo>
                      <a:cubicBezTo>
                        <a:pt x="689" y="656"/>
                        <a:pt x="689" y="656"/>
                        <a:pt x="689" y="656"/>
                      </a:cubicBezTo>
                      <a:cubicBezTo>
                        <a:pt x="689" y="663"/>
                        <a:pt x="684" y="668"/>
                        <a:pt x="678" y="668"/>
                      </a:cubicBezTo>
                      <a:cubicBezTo>
                        <a:pt x="609" y="668"/>
                        <a:pt x="609" y="668"/>
                        <a:pt x="609" y="668"/>
                      </a:cubicBezTo>
                      <a:cubicBezTo>
                        <a:pt x="603" y="668"/>
                        <a:pt x="598" y="663"/>
                        <a:pt x="598" y="656"/>
                      </a:cubicBezTo>
                      <a:cubicBezTo>
                        <a:pt x="598" y="564"/>
                        <a:pt x="598" y="564"/>
                        <a:pt x="598" y="564"/>
                      </a:cubicBezTo>
                      <a:cubicBezTo>
                        <a:pt x="598" y="539"/>
                        <a:pt x="619" y="518"/>
                        <a:pt x="644" y="518"/>
                      </a:cubicBezTo>
                      <a:close/>
                      <a:moveTo>
                        <a:pt x="359" y="540"/>
                      </a:moveTo>
                      <a:cubicBezTo>
                        <a:pt x="359" y="540"/>
                        <a:pt x="359" y="540"/>
                        <a:pt x="359" y="756"/>
                      </a:cubicBezTo>
                      <a:cubicBezTo>
                        <a:pt x="359" y="756"/>
                        <a:pt x="359" y="756"/>
                        <a:pt x="359" y="764"/>
                      </a:cubicBezTo>
                      <a:cubicBezTo>
                        <a:pt x="489" y="764"/>
                        <a:pt x="489" y="764"/>
                        <a:pt x="489" y="764"/>
                      </a:cubicBezTo>
                      <a:cubicBezTo>
                        <a:pt x="489" y="764"/>
                        <a:pt x="489" y="764"/>
                        <a:pt x="489" y="756"/>
                      </a:cubicBezTo>
                      <a:cubicBezTo>
                        <a:pt x="489" y="756"/>
                        <a:pt x="489" y="756"/>
                        <a:pt x="489" y="540"/>
                      </a:cubicBezTo>
                      <a:cubicBezTo>
                        <a:pt x="489" y="504"/>
                        <a:pt x="459" y="475"/>
                        <a:pt x="424" y="475"/>
                      </a:cubicBezTo>
                      <a:cubicBezTo>
                        <a:pt x="389" y="475"/>
                        <a:pt x="359" y="504"/>
                        <a:pt x="359" y="540"/>
                      </a:cubicBezTo>
                      <a:close/>
                      <a:moveTo>
                        <a:pt x="159" y="564"/>
                      </a:moveTo>
                      <a:cubicBezTo>
                        <a:pt x="159" y="564"/>
                        <a:pt x="159" y="564"/>
                        <a:pt x="159" y="656"/>
                      </a:cubicBezTo>
                      <a:cubicBezTo>
                        <a:pt x="159" y="663"/>
                        <a:pt x="164" y="668"/>
                        <a:pt x="170" y="668"/>
                      </a:cubicBezTo>
                      <a:cubicBezTo>
                        <a:pt x="170" y="668"/>
                        <a:pt x="170" y="668"/>
                        <a:pt x="240" y="668"/>
                      </a:cubicBezTo>
                      <a:cubicBezTo>
                        <a:pt x="246" y="668"/>
                        <a:pt x="251" y="663"/>
                        <a:pt x="251" y="656"/>
                      </a:cubicBezTo>
                      <a:cubicBezTo>
                        <a:pt x="251" y="656"/>
                        <a:pt x="251" y="656"/>
                        <a:pt x="251" y="564"/>
                      </a:cubicBezTo>
                      <a:cubicBezTo>
                        <a:pt x="251" y="539"/>
                        <a:pt x="230" y="518"/>
                        <a:pt x="205" y="518"/>
                      </a:cubicBezTo>
                      <a:cubicBezTo>
                        <a:pt x="179" y="518"/>
                        <a:pt x="159" y="539"/>
                        <a:pt x="159" y="564"/>
                      </a:cubicBezTo>
                      <a:close/>
                      <a:moveTo>
                        <a:pt x="78" y="764"/>
                      </a:moveTo>
                      <a:cubicBezTo>
                        <a:pt x="78" y="764"/>
                        <a:pt x="78" y="764"/>
                        <a:pt x="67" y="764"/>
                      </a:cubicBezTo>
                      <a:cubicBezTo>
                        <a:pt x="67" y="764"/>
                        <a:pt x="67" y="764"/>
                        <a:pt x="67" y="725"/>
                      </a:cubicBezTo>
                      <a:cubicBezTo>
                        <a:pt x="67" y="677"/>
                        <a:pt x="67" y="569"/>
                        <a:pt x="67" y="326"/>
                      </a:cubicBezTo>
                      <a:cubicBezTo>
                        <a:pt x="67" y="320"/>
                        <a:pt x="72" y="314"/>
                        <a:pt x="78" y="314"/>
                      </a:cubicBezTo>
                      <a:cubicBezTo>
                        <a:pt x="78" y="314"/>
                        <a:pt x="78" y="314"/>
                        <a:pt x="261" y="314"/>
                      </a:cubicBezTo>
                      <a:cubicBezTo>
                        <a:pt x="261" y="314"/>
                        <a:pt x="261" y="314"/>
                        <a:pt x="262" y="314"/>
                      </a:cubicBezTo>
                      <a:cubicBezTo>
                        <a:pt x="262" y="314"/>
                        <a:pt x="262" y="314"/>
                        <a:pt x="262" y="288"/>
                      </a:cubicBezTo>
                      <a:cubicBezTo>
                        <a:pt x="262" y="235"/>
                        <a:pt x="297" y="187"/>
                        <a:pt x="353" y="162"/>
                      </a:cubicBezTo>
                      <a:cubicBezTo>
                        <a:pt x="367" y="155"/>
                        <a:pt x="380" y="146"/>
                        <a:pt x="392" y="135"/>
                      </a:cubicBezTo>
                      <a:cubicBezTo>
                        <a:pt x="392" y="135"/>
                        <a:pt x="392" y="135"/>
                        <a:pt x="414" y="113"/>
                      </a:cubicBezTo>
                      <a:cubicBezTo>
                        <a:pt x="413" y="112"/>
                        <a:pt x="413" y="111"/>
                        <a:pt x="413" y="110"/>
                      </a:cubicBezTo>
                      <a:cubicBezTo>
                        <a:pt x="413" y="110"/>
                        <a:pt x="413" y="110"/>
                        <a:pt x="413" y="45"/>
                      </a:cubicBezTo>
                      <a:cubicBezTo>
                        <a:pt x="413" y="45"/>
                        <a:pt x="413" y="45"/>
                        <a:pt x="387" y="45"/>
                      </a:cubicBezTo>
                      <a:cubicBezTo>
                        <a:pt x="380" y="45"/>
                        <a:pt x="375" y="40"/>
                        <a:pt x="375" y="34"/>
                      </a:cubicBezTo>
                      <a:cubicBezTo>
                        <a:pt x="375" y="27"/>
                        <a:pt x="380" y="22"/>
                        <a:pt x="387" y="22"/>
                      </a:cubicBezTo>
                      <a:cubicBezTo>
                        <a:pt x="387" y="22"/>
                        <a:pt x="387" y="22"/>
                        <a:pt x="413" y="22"/>
                      </a:cubicBezTo>
                      <a:cubicBezTo>
                        <a:pt x="413" y="22"/>
                        <a:pt x="413" y="22"/>
                        <a:pt x="413" y="12"/>
                      </a:cubicBezTo>
                      <a:cubicBezTo>
                        <a:pt x="413" y="5"/>
                        <a:pt x="418" y="0"/>
                        <a:pt x="425" y="0"/>
                      </a:cubicBezTo>
                      <a:cubicBezTo>
                        <a:pt x="431" y="0"/>
                        <a:pt x="436" y="5"/>
                        <a:pt x="436" y="12"/>
                      </a:cubicBezTo>
                      <a:cubicBezTo>
                        <a:pt x="436" y="12"/>
                        <a:pt x="436" y="12"/>
                        <a:pt x="436" y="22"/>
                      </a:cubicBezTo>
                      <a:cubicBezTo>
                        <a:pt x="436" y="22"/>
                        <a:pt x="436" y="22"/>
                        <a:pt x="463" y="22"/>
                      </a:cubicBezTo>
                      <a:cubicBezTo>
                        <a:pt x="469" y="22"/>
                        <a:pt x="474" y="27"/>
                        <a:pt x="474" y="34"/>
                      </a:cubicBezTo>
                      <a:cubicBezTo>
                        <a:pt x="474" y="40"/>
                        <a:pt x="469" y="45"/>
                        <a:pt x="463" y="45"/>
                      </a:cubicBezTo>
                      <a:cubicBezTo>
                        <a:pt x="463" y="45"/>
                        <a:pt x="463" y="45"/>
                        <a:pt x="436" y="45"/>
                      </a:cubicBezTo>
                      <a:cubicBezTo>
                        <a:pt x="436" y="45"/>
                        <a:pt x="436" y="45"/>
                        <a:pt x="436" y="110"/>
                      </a:cubicBezTo>
                      <a:cubicBezTo>
                        <a:pt x="436" y="111"/>
                        <a:pt x="436" y="112"/>
                        <a:pt x="436" y="113"/>
                      </a:cubicBezTo>
                      <a:cubicBezTo>
                        <a:pt x="436" y="113"/>
                        <a:pt x="436" y="113"/>
                        <a:pt x="457" y="135"/>
                      </a:cubicBezTo>
                      <a:cubicBezTo>
                        <a:pt x="469" y="146"/>
                        <a:pt x="482" y="155"/>
                        <a:pt x="496" y="162"/>
                      </a:cubicBezTo>
                      <a:cubicBezTo>
                        <a:pt x="552" y="187"/>
                        <a:pt x="587" y="235"/>
                        <a:pt x="587" y="288"/>
                      </a:cubicBezTo>
                      <a:cubicBezTo>
                        <a:pt x="587" y="288"/>
                        <a:pt x="587" y="288"/>
                        <a:pt x="587" y="314"/>
                      </a:cubicBezTo>
                      <a:cubicBezTo>
                        <a:pt x="588" y="314"/>
                        <a:pt x="603" y="314"/>
                        <a:pt x="770" y="314"/>
                      </a:cubicBezTo>
                      <a:cubicBezTo>
                        <a:pt x="776" y="314"/>
                        <a:pt x="781" y="320"/>
                        <a:pt x="781" y="326"/>
                      </a:cubicBezTo>
                      <a:cubicBezTo>
                        <a:pt x="781" y="326"/>
                        <a:pt x="781" y="326"/>
                        <a:pt x="781" y="725"/>
                      </a:cubicBezTo>
                      <a:cubicBezTo>
                        <a:pt x="781" y="738"/>
                        <a:pt x="781" y="751"/>
                        <a:pt x="781" y="764"/>
                      </a:cubicBezTo>
                      <a:cubicBezTo>
                        <a:pt x="781" y="764"/>
                        <a:pt x="781" y="764"/>
                        <a:pt x="770" y="764"/>
                      </a:cubicBezTo>
                      <a:cubicBezTo>
                        <a:pt x="770" y="764"/>
                        <a:pt x="770" y="764"/>
                        <a:pt x="758" y="764"/>
                      </a:cubicBezTo>
                      <a:cubicBezTo>
                        <a:pt x="735" y="764"/>
                        <a:pt x="735" y="764"/>
                        <a:pt x="735" y="764"/>
                      </a:cubicBezTo>
                      <a:cubicBezTo>
                        <a:pt x="735" y="756"/>
                        <a:pt x="735" y="756"/>
                        <a:pt x="735" y="756"/>
                      </a:cubicBezTo>
                      <a:cubicBezTo>
                        <a:pt x="735" y="416"/>
                        <a:pt x="735" y="416"/>
                        <a:pt x="735" y="416"/>
                      </a:cubicBezTo>
                      <a:cubicBezTo>
                        <a:pt x="547" y="416"/>
                        <a:pt x="547" y="416"/>
                        <a:pt x="547" y="416"/>
                      </a:cubicBezTo>
                      <a:cubicBezTo>
                        <a:pt x="547" y="756"/>
                        <a:pt x="547" y="756"/>
                        <a:pt x="547" y="756"/>
                      </a:cubicBezTo>
                      <a:cubicBezTo>
                        <a:pt x="547" y="764"/>
                        <a:pt x="547" y="764"/>
                        <a:pt x="547" y="764"/>
                      </a:cubicBezTo>
                      <a:cubicBezTo>
                        <a:pt x="525" y="764"/>
                        <a:pt x="525" y="764"/>
                        <a:pt x="525" y="764"/>
                      </a:cubicBezTo>
                      <a:cubicBezTo>
                        <a:pt x="525" y="756"/>
                        <a:pt x="525" y="756"/>
                        <a:pt x="525" y="756"/>
                      </a:cubicBezTo>
                      <a:cubicBezTo>
                        <a:pt x="525" y="416"/>
                        <a:pt x="525" y="416"/>
                        <a:pt x="525" y="416"/>
                      </a:cubicBezTo>
                      <a:cubicBezTo>
                        <a:pt x="323" y="416"/>
                        <a:pt x="323" y="416"/>
                        <a:pt x="323" y="416"/>
                      </a:cubicBezTo>
                      <a:cubicBezTo>
                        <a:pt x="323" y="756"/>
                        <a:pt x="323" y="756"/>
                        <a:pt x="323" y="756"/>
                      </a:cubicBezTo>
                      <a:cubicBezTo>
                        <a:pt x="323" y="764"/>
                        <a:pt x="323" y="764"/>
                        <a:pt x="323" y="764"/>
                      </a:cubicBezTo>
                      <a:cubicBezTo>
                        <a:pt x="301" y="764"/>
                        <a:pt x="301" y="764"/>
                        <a:pt x="301" y="764"/>
                      </a:cubicBezTo>
                      <a:cubicBezTo>
                        <a:pt x="301" y="756"/>
                        <a:pt x="301" y="756"/>
                        <a:pt x="301" y="756"/>
                      </a:cubicBezTo>
                      <a:cubicBezTo>
                        <a:pt x="301" y="416"/>
                        <a:pt x="301" y="416"/>
                        <a:pt x="301" y="416"/>
                      </a:cubicBezTo>
                      <a:cubicBezTo>
                        <a:pt x="113" y="416"/>
                        <a:pt x="113" y="416"/>
                        <a:pt x="113" y="416"/>
                      </a:cubicBezTo>
                      <a:cubicBezTo>
                        <a:pt x="113" y="756"/>
                        <a:pt x="113" y="756"/>
                        <a:pt x="113" y="756"/>
                      </a:cubicBezTo>
                      <a:cubicBezTo>
                        <a:pt x="113" y="764"/>
                        <a:pt x="113" y="764"/>
                        <a:pt x="113" y="764"/>
                      </a:cubicBezTo>
                      <a:cubicBezTo>
                        <a:pt x="90" y="764"/>
                        <a:pt x="90" y="764"/>
                        <a:pt x="90" y="764"/>
                      </a:cubicBezTo>
                      <a:cubicBezTo>
                        <a:pt x="90" y="764"/>
                        <a:pt x="90" y="764"/>
                        <a:pt x="78" y="764"/>
                      </a:cubicBezTo>
                      <a:close/>
                      <a:moveTo>
                        <a:pt x="113" y="393"/>
                      </a:moveTo>
                      <a:cubicBezTo>
                        <a:pt x="735" y="393"/>
                        <a:pt x="735" y="393"/>
                        <a:pt x="735" y="393"/>
                      </a:cubicBezTo>
                      <a:cubicBezTo>
                        <a:pt x="735" y="359"/>
                        <a:pt x="735" y="359"/>
                        <a:pt x="735" y="359"/>
                      </a:cubicBezTo>
                      <a:cubicBezTo>
                        <a:pt x="113" y="359"/>
                        <a:pt x="113" y="359"/>
                        <a:pt x="113" y="359"/>
                      </a:cubicBezTo>
                      <a:lnTo>
                        <a:pt x="113" y="393"/>
                      </a:lnTo>
                      <a:close/>
                      <a:moveTo>
                        <a:pt x="837" y="815"/>
                      </a:moveTo>
                      <a:cubicBezTo>
                        <a:pt x="803" y="815"/>
                        <a:pt x="803" y="815"/>
                        <a:pt x="803" y="815"/>
                      </a:cubicBezTo>
                      <a:cubicBezTo>
                        <a:pt x="803" y="801"/>
                        <a:pt x="803" y="801"/>
                        <a:pt x="803" y="801"/>
                      </a:cubicBezTo>
                      <a:cubicBezTo>
                        <a:pt x="803" y="799"/>
                        <a:pt x="803" y="799"/>
                        <a:pt x="803" y="799"/>
                      </a:cubicBezTo>
                      <a:cubicBezTo>
                        <a:pt x="803" y="793"/>
                        <a:pt x="799" y="788"/>
                        <a:pt x="793" y="788"/>
                      </a:cubicBezTo>
                      <a:cubicBezTo>
                        <a:pt x="793" y="788"/>
                        <a:pt x="792" y="788"/>
                        <a:pt x="792" y="788"/>
                      </a:cubicBezTo>
                      <a:cubicBezTo>
                        <a:pt x="782" y="788"/>
                        <a:pt x="782" y="788"/>
                        <a:pt x="782" y="788"/>
                      </a:cubicBezTo>
                      <a:cubicBezTo>
                        <a:pt x="770" y="788"/>
                        <a:pt x="770" y="788"/>
                        <a:pt x="770" y="788"/>
                      </a:cubicBezTo>
                      <a:cubicBezTo>
                        <a:pt x="758" y="788"/>
                        <a:pt x="758" y="788"/>
                        <a:pt x="758" y="788"/>
                      </a:cubicBezTo>
                      <a:cubicBezTo>
                        <a:pt x="90" y="788"/>
                        <a:pt x="90" y="788"/>
                        <a:pt x="90" y="788"/>
                      </a:cubicBezTo>
                      <a:cubicBezTo>
                        <a:pt x="78" y="788"/>
                        <a:pt x="78" y="788"/>
                        <a:pt x="78" y="788"/>
                      </a:cubicBezTo>
                      <a:cubicBezTo>
                        <a:pt x="66" y="788"/>
                        <a:pt x="66" y="788"/>
                        <a:pt x="66" y="788"/>
                      </a:cubicBezTo>
                      <a:cubicBezTo>
                        <a:pt x="56" y="788"/>
                        <a:pt x="56" y="788"/>
                        <a:pt x="56" y="788"/>
                      </a:cubicBezTo>
                      <a:cubicBezTo>
                        <a:pt x="56" y="788"/>
                        <a:pt x="55" y="788"/>
                        <a:pt x="55" y="788"/>
                      </a:cubicBezTo>
                      <a:cubicBezTo>
                        <a:pt x="49" y="788"/>
                        <a:pt x="45" y="793"/>
                        <a:pt x="45" y="799"/>
                      </a:cubicBezTo>
                      <a:cubicBezTo>
                        <a:pt x="45" y="801"/>
                        <a:pt x="45" y="801"/>
                        <a:pt x="45" y="801"/>
                      </a:cubicBezTo>
                      <a:cubicBezTo>
                        <a:pt x="45" y="815"/>
                        <a:pt x="45" y="815"/>
                        <a:pt x="45" y="815"/>
                      </a:cubicBezTo>
                      <a:cubicBezTo>
                        <a:pt x="11" y="815"/>
                        <a:pt x="11" y="815"/>
                        <a:pt x="11" y="815"/>
                      </a:cubicBezTo>
                      <a:cubicBezTo>
                        <a:pt x="5" y="815"/>
                        <a:pt x="0" y="819"/>
                        <a:pt x="0" y="826"/>
                      </a:cubicBezTo>
                      <a:cubicBezTo>
                        <a:pt x="0" y="869"/>
                        <a:pt x="0" y="869"/>
                        <a:pt x="0" y="869"/>
                      </a:cubicBezTo>
                      <a:cubicBezTo>
                        <a:pt x="0" y="875"/>
                        <a:pt x="5" y="880"/>
                        <a:pt x="11" y="880"/>
                      </a:cubicBezTo>
                      <a:cubicBezTo>
                        <a:pt x="837" y="880"/>
                        <a:pt x="837" y="880"/>
                        <a:pt x="837" y="880"/>
                      </a:cubicBezTo>
                      <a:cubicBezTo>
                        <a:pt x="843" y="880"/>
                        <a:pt x="848" y="875"/>
                        <a:pt x="848" y="869"/>
                      </a:cubicBezTo>
                      <a:cubicBezTo>
                        <a:pt x="848" y="826"/>
                        <a:pt x="848" y="826"/>
                        <a:pt x="848" y="826"/>
                      </a:cubicBezTo>
                      <a:cubicBezTo>
                        <a:pt x="848" y="819"/>
                        <a:pt x="843" y="815"/>
                        <a:pt x="837" y="815"/>
                      </a:cubicBezTo>
                      <a:close/>
                    </a:path>
                  </a:pathLst>
                </a:custGeom>
                <a:solidFill>
                  <a:srgbClr val="164484"/>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 name="Rectangle 7">
                <a:extLst>
                  <a:ext uri="{FF2B5EF4-FFF2-40B4-BE49-F238E27FC236}">
                    <a16:creationId xmlns:a16="http://schemas.microsoft.com/office/drawing/2014/main" id="{D2A86B86-7C7C-4ABA-A205-CA1570556F28}"/>
                  </a:ext>
                </a:extLst>
              </p:cNvPr>
              <p:cNvSpPr/>
              <p:nvPr/>
            </p:nvSpPr>
            <p:spPr>
              <a:xfrm>
                <a:off x="8523184" y="4047044"/>
                <a:ext cx="142875" cy="82214"/>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grpSp>
      <p:grpSp>
        <p:nvGrpSpPr>
          <p:cNvPr id="3" name="Group 2">
            <a:extLst>
              <a:ext uri="{FF2B5EF4-FFF2-40B4-BE49-F238E27FC236}">
                <a16:creationId xmlns:a16="http://schemas.microsoft.com/office/drawing/2014/main" id="{BEC39E39-19BD-4849-AE77-0DBA695D15E6}"/>
              </a:ext>
            </a:extLst>
          </p:cNvPr>
          <p:cNvGrpSpPr/>
          <p:nvPr/>
        </p:nvGrpSpPr>
        <p:grpSpPr>
          <a:xfrm>
            <a:off x="8791230" y="4053585"/>
            <a:ext cx="1589688" cy="2177235"/>
            <a:chOff x="8791230" y="4053585"/>
            <a:chExt cx="1589688" cy="2177235"/>
          </a:xfrm>
        </p:grpSpPr>
        <p:grpSp>
          <p:nvGrpSpPr>
            <p:cNvPr id="172" name="Group 10">
              <a:extLst>
                <a:ext uri="{FF2B5EF4-FFF2-40B4-BE49-F238E27FC236}">
                  <a16:creationId xmlns:a16="http://schemas.microsoft.com/office/drawing/2014/main" id="{7ECF50CC-0176-481C-9601-7BB528787DDC}"/>
                </a:ext>
              </a:extLst>
            </p:cNvPr>
            <p:cNvGrpSpPr>
              <a:grpSpLocks noChangeAspect="1"/>
            </p:cNvGrpSpPr>
            <p:nvPr/>
          </p:nvGrpSpPr>
          <p:grpSpPr bwMode="auto">
            <a:xfrm>
              <a:off x="9235565" y="4219209"/>
              <a:ext cx="596271" cy="596271"/>
              <a:chOff x="2652" y="972"/>
              <a:chExt cx="2376" cy="2376"/>
            </a:xfrm>
          </p:grpSpPr>
          <p:sp>
            <p:nvSpPr>
              <p:cNvPr id="173" name="AutoShape 9">
                <a:extLst>
                  <a:ext uri="{FF2B5EF4-FFF2-40B4-BE49-F238E27FC236}">
                    <a16:creationId xmlns:a16="http://schemas.microsoft.com/office/drawing/2014/main" id="{1DA01F2F-2811-4359-8EE8-0D852C0F306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1">
                <a:extLst>
                  <a:ext uri="{FF2B5EF4-FFF2-40B4-BE49-F238E27FC236}">
                    <a16:creationId xmlns:a16="http://schemas.microsoft.com/office/drawing/2014/main" id="{81BC2589-4D7E-4DC1-9D49-07F463E83625}"/>
                  </a:ext>
                </a:extLst>
              </p:cNvPr>
              <p:cNvSpPr>
                <a:spLocks noEditPoints="1"/>
              </p:cNvSpPr>
              <p:nvPr/>
            </p:nvSpPr>
            <p:spPr bwMode="auto">
              <a:xfrm>
                <a:off x="2864" y="1119"/>
                <a:ext cx="1964" cy="2013"/>
              </a:xfrm>
              <a:custGeom>
                <a:avLst/>
                <a:gdLst>
                  <a:gd name="T0" fmla="*/ 807 w 826"/>
                  <a:gd name="T1" fmla="*/ 511 h 846"/>
                  <a:gd name="T2" fmla="*/ 778 w 826"/>
                  <a:gd name="T3" fmla="*/ 501 h 846"/>
                  <a:gd name="T4" fmla="*/ 749 w 826"/>
                  <a:gd name="T5" fmla="*/ 515 h 846"/>
                  <a:gd name="T6" fmla="*/ 712 w 826"/>
                  <a:gd name="T7" fmla="*/ 556 h 846"/>
                  <a:gd name="T8" fmla="*/ 599 w 826"/>
                  <a:gd name="T9" fmla="*/ 627 h 846"/>
                  <a:gd name="T10" fmla="*/ 446 w 826"/>
                  <a:gd name="T11" fmla="*/ 619 h 846"/>
                  <a:gd name="T12" fmla="*/ 404 w 826"/>
                  <a:gd name="T13" fmla="*/ 602 h 846"/>
                  <a:gd name="T14" fmla="*/ 397 w 826"/>
                  <a:gd name="T15" fmla="*/ 589 h 846"/>
                  <a:gd name="T16" fmla="*/ 407 w 826"/>
                  <a:gd name="T17" fmla="*/ 579 h 846"/>
                  <a:gd name="T18" fmla="*/ 529 w 826"/>
                  <a:gd name="T19" fmla="*/ 566 h 846"/>
                  <a:gd name="T20" fmla="*/ 563 w 826"/>
                  <a:gd name="T21" fmla="*/ 530 h 846"/>
                  <a:gd name="T22" fmla="*/ 528 w 826"/>
                  <a:gd name="T23" fmla="*/ 493 h 846"/>
                  <a:gd name="T24" fmla="*/ 293 w 826"/>
                  <a:gd name="T25" fmla="*/ 480 h 846"/>
                  <a:gd name="T26" fmla="*/ 228 w 826"/>
                  <a:gd name="T27" fmla="*/ 496 h 846"/>
                  <a:gd name="T28" fmla="*/ 0 w 826"/>
                  <a:gd name="T29" fmla="*/ 626 h 846"/>
                  <a:gd name="T30" fmla="*/ 0 w 826"/>
                  <a:gd name="T31" fmla="*/ 846 h 846"/>
                  <a:gd name="T32" fmla="*/ 261 w 826"/>
                  <a:gd name="T33" fmla="*/ 745 h 846"/>
                  <a:gd name="T34" fmla="*/ 300 w 826"/>
                  <a:gd name="T35" fmla="*/ 739 h 846"/>
                  <a:gd name="T36" fmla="*/ 415 w 826"/>
                  <a:gd name="T37" fmla="*/ 748 h 846"/>
                  <a:gd name="T38" fmla="*/ 592 w 826"/>
                  <a:gd name="T39" fmla="*/ 727 h 846"/>
                  <a:gd name="T40" fmla="*/ 786 w 826"/>
                  <a:gd name="T41" fmla="*/ 598 h 846"/>
                  <a:gd name="T42" fmla="*/ 811 w 826"/>
                  <a:gd name="T43" fmla="*/ 569 h 846"/>
                  <a:gd name="T44" fmla="*/ 807 w 826"/>
                  <a:gd name="T45" fmla="*/ 511 h 846"/>
                  <a:gd name="T46" fmla="*/ 439 w 826"/>
                  <a:gd name="T47" fmla="*/ 145 h 846"/>
                  <a:gd name="T48" fmla="*/ 259 w 826"/>
                  <a:gd name="T49" fmla="*/ 434 h 846"/>
                  <a:gd name="T50" fmla="*/ 271 w 826"/>
                  <a:gd name="T51" fmla="*/ 433 h 846"/>
                  <a:gd name="T52" fmla="*/ 284 w 826"/>
                  <a:gd name="T53" fmla="*/ 432 h 846"/>
                  <a:gd name="T54" fmla="*/ 308 w 826"/>
                  <a:gd name="T55" fmla="*/ 430 h 846"/>
                  <a:gd name="T56" fmla="*/ 313 w 826"/>
                  <a:gd name="T57" fmla="*/ 430 h 846"/>
                  <a:gd name="T58" fmla="*/ 532 w 826"/>
                  <a:gd name="T59" fmla="*/ 441 h 846"/>
                  <a:gd name="T60" fmla="*/ 613 w 826"/>
                  <a:gd name="T61" fmla="*/ 525 h 846"/>
                  <a:gd name="T62" fmla="*/ 613 w 826"/>
                  <a:gd name="T63" fmla="*/ 527 h 846"/>
                  <a:gd name="T64" fmla="*/ 599 w 826"/>
                  <a:gd name="T65" fmla="*/ 574 h 846"/>
                  <a:gd name="T66" fmla="*/ 677 w 826"/>
                  <a:gd name="T67" fmla="*/ 522 h 846"/>
                  <a:gd name="T68" fmla="*/ 714 w 826"/>
                  <a:gd name="T69" fmla="*/ 480 h 846"/>
                  <a:gd name="T70" fmla="*/ 717 w 826"/>
                  <a:gd name="T71" fmla="*/ 477 h 846"/>
                  <a:gd name="T72" fmla="*/ 742 w 826"/>
                  <a:gd name="T73" fmla="*/ 461 h 846"/>
                  <a:gd name="T74" fmla="*/ 755 w 826"/>
                  <a:gd name="T75" fmla="*/ 456 h 846"/>
                  <a:gd name="T76" fmla="*/ 767 w 826"/>
                  <a:gd name="T77" fmla="*/ 454 h 846"/>
                  <a:gd name="T78" fmla="*/ 766 w 826"/>
                  <a:gd name="T79" fmla="*/ 444 h 846"/>
                  <a:gd name="T80" fmla="*/ 586 w 826"/>
                  <a:gd name="T81" fmla="*/ 145 h 846"/>
                  <a:gd name="T82" fmla="*/ 583 w 826"/>
                  <a:gd name="T83" fmla="*/ 141 h 846"/>
                  <a:gd name="T84" fmla="*/ 588 w 826"/>
                  <a:gd name="T85" fmla="*/ 132 h 846"/>
                  <a:gd name="T86" fmla="*/ 589 w 826"/>
                  <a:gd name="T87" fmla="*/ 131 h 846"/>
                  <a:gd name="T88" fmla="*/ 640 w 826"/>
                  <a:gd name="T89" fmla="*/ 70 h 846"/>
                  <a:gd name="T90" fmla="*/ 587 w 826"/>
                  <a:gd name="T91" fmla="*/ 25 h 846"/>
                  <a:gd name="T92" fmla="*/ 583 w 826"/>
                  <a:gd name="T93" fmla="*/ 12 h 846"/>
                  <a:gd name="T94" fmla="*/ 555 w 826"/>
                  <a:gd name="T95" fmla="*/ 0 h 846"/>
                  <a:gd name="T96" fmla="*/ 470 w 826"/>
                  <a:gd name="T97" fmla="*/ 0 h 846"/>
                  <a:gd name="T98" fmla="*/ 442 w 826"/>
                  <a:gd name="T99" fmla="*/ 12 h 846"/>
                  <a:gd name="T100" fmla="*/ 439 w 826"/>
                  <a:gd name="T101" fmla="*/ 25 h 846"/>
                  <a:gd name="T102" fmla="*/ 385 w 826"/>
                  <a:gd name="T103" fmla="*/ 70 h 846"/>
                  <a:gd name="T104" fmla="*/ 437 w 826"/>
                  <a:gd name="T105" fmla="*/ 131 h 846"/>
                  <a:gd name="T106" fmla="*/ 437 w 826"/>
                  <a:gd name="T107" fmla="*/ 132 h 846"/>
                  <a:gd name="T108" fmla="*/ 442 w 826"/>
                  <a:gd name="T109" fmla="*/ 141 h 846"/>
                  <a:gd name="T110" fmla="*/ 439 w 826"/>
                  <a:gd name="T111" fmla="*/ 145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6" h="846">
                    <a:moveTo>
                      <a:pt x="807" y="511"/>
                    </a:moveTo>
                    <a:cubicBezTo>
                      <a:pt x="799" y="504"/>
                      <a:pt x="789" y="500"/>
                      <a:pt x="778" y="501"/>
                    </a:cubicBezTo>
                    <a:cubicBezTo>
                      <a:pt x="767" y="501"/>
                      <a:pt x="756" y="506"/>
                      <a:pt x="749" y="515"/>
                    </a:cubicBezTo>
                    <a:cubicBezTo>
                      <a:pt x="749" y="515"/>
                      <a:pt x="749" y="515"/>
                      <a:pt x="712" y="556"/>
                    </a:cubicBezTo>
                    <a:cubicBezTo>
                      <a:pt x="682" y="591"/>
                      <a:pt x="643" y="615"/>
                      <a:pt x="599" y="627"/>
                    </a:cubicBezTo>
                    <a:cubicBezTo>
                      <a:pt x="549" y="642"/>
                      <a:pt x="494" y="638"/>
                      <a:pt x="446" y="619"/>
                    </a:cubicBezTo>
                    <a:cubicBezTo>
                      <a:pt x="446" y="619"/>
                      <a:pt x="446" y="619"/>
                      <a:pt x="404" y="602"/>
                    </a:cubicBezTo>
                    <a:cubicBezTo>
                      <a:pt x="399" y="600"/>
                      <a:pt x="395" y="595"/>
                      <a:pt x="397" y="589"/>
                    </a:cubicBezTo>
                    <a:cubicBezTo>
                      <a:pt x="397" y="584"/>
                      <a:pt x="402" y="579"/>
                      <a:pt x="407" y="579"/>
                    </a:cubicBezTo>
                    <a:cubicBezTo>
                      <a:pt x="407" y="579"/>
                      <a:pt x="407" y="579"/>
                      <a:pt x="529" y="566"/>
                    </a:cubicBezTo>
                    <a:cubicBezTo>
                      <a:pt x="549" y="565"/>
                      <a:pt x="563" y="549"/>
                      <a:pt x="563" y="530"/>
                    </a:cubicBezTo>
                    <a:cubicBezTo>
                      <a:pt x="563" y="510"/>
                      <a:pt x="548" y="494"/>
                      <a:pt x="528" y="493"/>
                    </a:cubicBezTo>
                    <a:cubicBezTo>
                      <a:pt x="528" y="493"/>
                      <a:pt x="528" y="493"/>
                      <a:pt x="293" y="480"/>
                    </a:cubicBezTo>
                    <a:cubicBezTo>
                      <a:pt x="270" y="479"/>
                      <a:pt x="247" y="485"/>
                      <a:pt x="228" y="496"/>
                    </a:cubicBezTo>
                    <a:cubicBezTo>
                      <a:pt x="228" y="496"/>
                      <a:pt x="228" y="496"/>
                      <a:pt x="0" y="626"/>
                    </a:cubicBezTo>
                    <a:cubicBezTo>
                      <a:pt x="0" y="626"/>
                      <a:pt x="0" y="626"/>
                      <a:pt x="0" y="846"/>
                    </a:cubicBezTo>
                    <a:cubicBezTo>
                      <a:pt x="0" y="846"/>
                      <a:pt x="0" y="846"/>
                      <a:pt x="261" y="745"/>
                    </a:cubicBezTo>
                    <a:cubicBezTo>
                      <a:pt x="273" y="740"/>
                      <a:pt x="287" y="738"/>
                      <a:pt x="300" y="739"/>
                    </a:cubicBezTo>
                    <a:cubicBezTo>
                      <a:pt x="300" y="739"/>
                      <a:pt x="300" y="739"/>
                      <a:pt x="415" y="748"/>
                    </a:cubicBezTo>
                    <a:cubicBezTo>
                      <a:pt x="475" y="752"/>
                      <a:pt x="535" y="745"/>
                      <a:pt x="592" y="727"/>
                    </a:cubicBezTo>
                    <a:cubicBezTo>
                      <a:pt x="668" y="703"/>
                      <a:pt x="735" y="659"/>
                      <a:pt x="786" y="598"/>
                    </a:cubicBezTo>
                    <a:cubicBezTo>
                      <a:pt x="786" y="598"/>
                      <a:pt x="786" y="598"/>
                      <a:pt x="811" y="569"/>
                    </a:cubicBezTo>
                    <a:cubicBezTo>
                      <a:pt x="826" y="552"/>
                      <a:pt x="824" y="526"/>
                      <a:pt x="807" y="511"/>
                    </a:cubicBezTo>
                    <a:close/>
                    <a:moveTo>
                      <a:pt x="439" y="145"/>
                    </a:moveTo>
                    <a:cubicBezTo>
                      <a:pt x="438" y="147"/>
                      <a:pt x="268" y="295"/>
                      <a:pt x="259" y="434"/>
                    </a:cubicBezTo>
                    <a:cubicBezTo>
                      <a:pt x="263" y="434"/>
                      <a:pt x="268" y="433"/>
                      <a:pt x="271" y="433"/>
                    </a:cubicBezTo>
                    <a:cubicBezTo>
                      <a:pt x="276" y="433"/>
                      <a:pt x="280" y="432"/>
                      <a:pt x="284" y="432"/>
                    </a:cubicBezTo>
                    <a:cubicBezTo>
                      <a:pt x="308" y="430"/>
                      <a:pt x="308" y="430"/>
                      <a:pt x="308" y="430"/>
                    </a:cubicBezTo>
                    <a:cubicBezTo>
                      <a:pt x="313" y="430"/>
                      <a:pt x="313" y="430"/>
                      <a:pt x="313" y="430"/>
                    </a:cubicBezTo>
                    <a:cubicBezTo>
                      <a:pt x="532" y="441"/>
                      <a:pt x="532" y="441"/>
                      <a:pt x="532" y="441"/>
                    </a:cubicBezTo>
                    <a:cubicBezTo>
                      <a:pt x="576" y="444"/>
                      <a:pt x="611" y="480"/>
                      <a:pt x="613" y="525"/>
                    </a:cubicBezTo>
                    <a:cubicBezTo>
                      <a:pt x="613" y="527"/>
                      <a:pt x="613" y="527"/>
                      <a:pt x="613" y="527"/>
                    </a:cubicBezTo>
                    <a:cubicBezTo>
                      <a:pt x="613" y="544"/>
                      <a:pt x="608" y="560"/>
                      <a:pt x="599" y="574"/>
                    </a:cubicBezTo>
                    <a:cubicBezTo>
                      <a:pt x="629" y="564"/>
                      <a:pt x="656" y="545"/>
                      <a:pt x="677" y="522"/>
                    </a:cubicBezTo>
                    <a:cubicBezTo>
                      <a:pt x="714" y="480"/>
                      <a:pt x="714" y="480"/>
                      <a:pt x="714" y="480"/>
                    </a:cubicBezTo>
                    <a:cubicBezTo>
                      <a:pt x="715" y="479"/>
                      <a:pt x="716" y="478"/>
                      <a:pt x="717" y="477"/>
                    </a:cubicBezTo>
                    <a:cubicBezTo>
                      <a:pt x="742" y="461"/>
                      <a:pt x="742" y="461"/>
                      <a:pt x="742" y="461"/>
                    </a:cubicBezTo>
                    <a:cubicBezTo>
                      <a:pt x="746" y="459"/>
                      <a:pt x="750" y="457"/>
                      <a:pt x="755" y="456"/>
                    </a:cubicBezTo>
                    <a:cubicBezTo>
                      <a:pt x="758" y="455"/>
                      <a:pt x="762" y="454"/>
                      <a:pt x="767" y="454"/>
                    </a:cubicBezTo>
                    <a:cubicBezTo>
                      <a:pt x="767" y="449"/>
                      <a:pt x="767" y="445"/>
                      <a:pt x="766" y="444"/>
                    </a:cubicBezTo>
                    <a:cubicBezTo>
                      <a:pt x="766" y="302"/>
                      <a:pt x="588" y="147"/>
                      <a:pt x="586" y="145"/>
                    </a:cubicBezTo>
                    <a:cubicBezTo>
                      <a:pt x="585" y="144"/>
                      <a:pt x="583" y="142"/>
                      <a:pt x="583" y="141"/>
                    </a:cubicBezTo>
                    <a:cubicBezTo>
                      <a:pt x="583" y="138"/>
                      <a:pt x="587" y="134"/>
                      <a:pt x="588" y="132"/>
                    </a:cubicBezTo>
                    <a:cubicBezTo>
                      <a:pt x="589" y="131"/>
                      <a:pt x="589" y="131"/>
                      <a:pt x="589" y="131"/>
                    </a:cubicBezTo>
                    <a:cubicBezTo>
                      <a:pt x="622" y="101"/>
                      <a:pt x="639" y="80"/>
                      <a:pt x="640" y="70"/>
                    </a:cubicBezTo>
                    <a:cubicBezTo>
                      <a:pt x="641" y="64"/>
                      <a:pt x="644" y="50"/>
                      <a:pt x="587" y="25"/>
                    </a:cubicBezTo>
                    <a:cubicBezTo>
                      <a:pt x="587" y="21"/>
                      <a:pt x="586" y="16"/>
                      <a:pt x="583" y="12"/>
                    </a:cubicBezTo>
                    <a:cubicBezTo>
                      <a:pt x="575" y="0"/>
                      <a:pt x="559" y="0"/>
                      <a:pt x="555" y="0"/>
                    </a:cubicBezTo>
                    <a:cubicBezTo>
                      <a:pt x="470" y="0"/>
                      <a:pt x="470" y="0"/>
                      <a:pt x="470" y="0"/>
                    </a:cubicBezTo>
                    <a:cubicBezTo>
                      <a:pt x="467" y="0"/>
                      <a:pt x="450" y="0"/>
                      <a:pt x="442" y="12"/>
                    </a:cubicBezTo>
                    <a:cubicBezTo>
                      <a:pt x="440" y="16"/>
                      <a:pt x="439" y="21"/>
                      <a:pt x="439" y="25"/>
                    </a:cubicBezTo>
                    <a:cubicBezTo>
                      <a:pt x="382" y="50"/>
                      <a:pt x="384" y="64"/>
                      <a:pt x="385" y="70"/>
                    </a:cubicBezTo>
                    <a:cubicBezTo>
                      <a:pt x="387" y="80"/>
                      <a:pt x="404" y="101"/>
                      <a:pt x="437" y="131"/>
                    </a:cubicBezTo>
                    <a:cubicBezTo>
                      <a:pt x="437" y="132"/>
                      <a:pt x="437" y="132"/>
                      <a:pt x="437" y="132"/>
                    </a:cubicBezTo>
                    <a:cubicBezTo>
                      <a:pt x="439" y="134"/>
                      <a:pt x="443" y="138"/>
                      <a:pt x="442" y="141"/>
                    </a:cubicBezTo>
                    <a:cubicBezTo>
                      <a:pt x="442" y="142"/>
                      <a:pt x="441" y="144"/>
                      <a:pt x="439" y="145"/>
                    </a:cubicBezTo>
                    <a:close/>
                  </a:path>
                </a:pathLst>
              </a:custGeom>
              <a:solidFill>
                <a:srgbClr val="164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3" name="Group 152">
              <a:extLst>
                <a:ext uri="{FF2B5EF4-FFF2-40B4-BE49-F238E27FC236}">
                  <a16:creationId xmlns:a16="http://schemas.microsoft.com/office/drawing/2014/main" id="{3DCE5217-4027-4772-939B-06A64D05EA19}"/>
                </a:ext>
              </a:extLst>
            </p:cNvPr>
            <p:cNvGrpSpPr/>
            <p:nvPr/>
          </p:nvGrpSpPr>
          <p:grpSpPr>
            <a:xfrm>
              <a:off x="8791230" y="4053585"/>
              <a:ext cx="1589688" cy="2177235"/>
              <a:chOff x="7799777" y="3908111"/>
              <a:chExt cx="1589688" cy="2177235"/>
            </a:xfrm>
          </p:grpSpPr>
          <p:grpSp>
            <p:nvGrpSpPr>
              <p:cNvPr id="154" name="Group 153">
                <a:extLst>
                  <a:ext uri="{FF2B5EF4-FFF2-40B4-BE49-F238E27FC236}">
                    <a16:creationId xmlns:a16="http://schemas.microsoft.com/office/drawing/2014/main" id="{B7A1F35A-0222-49B2-AE90-EC86A984849A}"/>
                  </a:ext>
                </a:extLst>
              </p:cNvPr>
              <p:cNvGrpSpPr>
                <a:grpSpLocks/>
              </p:cNvGrpSpPr>
              <p:nvPr/>
            </p:nvGrpSpPr>
            <p:grpSpPr>
              <a:xfrm>
                <a:off x="7904568" y="3908111"/>
                <a:ext cx="1380106" cy="1096604"/>
                <a:chOff x="2903302" y="1906042"/>
                <a:chExt cx="1840142" cy="1462139"/>
              </a:xfrm>
            </p:grpSpPr>
            <p:grpSp>
              <p:nvGrpSpPr>
                <p:cNvPr id="159" name="Group 158">
                  <a:extLst>
                    <a:ext uri="{FF2B5EF4-FFF2-40B4-BE49-F238E27FC236}">
                      <a16:creationId xmlns:a16="http://schemas.microsoft.com/office/drawing/2014/main" id="{8481806F-33F1-4B95-9FC6-4D14142F1CC8}"/>
                    </a:ext>
                  </a:extLst>
                </p:cNvPr>
                <p:cNvGrpSpPr/>
                <p:nvPr/>
              </p:nvGrpSpPr>
              <p:grpSpPr>
                <a:xfrm>
                  <a:off x="2903302" y="1906042"/>
                  <a:ext cx="1840142" cy="1462138"/>
                  <a:chOff x="3031532" y="1906042"/>
                  <a:chExt cx="1840142" cy="1462138"/>
                </a:xfrm>
              </p:grpSpPr>
              <p:grpSp>
                <p:nvGrpSpPr>
                  <p:cNvPr id="167" name="Group 166">
                    <a:extLst>
                      <a:ext uri="{FF2B5EF4-FFF2-40B4-BE49-F238E27FC236}">
                        <a16:creationId xmlns:a16="http://schemas.microsoft.com/office/drawing/2014/main" id="{B1401EC7-43C9-4082-804E-62051C297FA9}"/>
                      </a:ext>
                    </a:extLst>
                  </p:cNvPr>
                  <p:cNvGrpSpPr/>
                  <p:nvPr/>
                </p:nvGrpSpPr>
                <p:grpSpPr>
                  <a:xfrm>
                    <a:off x="3426977" y="1906042"/>
                    <a:ext cx="1049253" cy="1206903"/>
                    <a:chOff x="3555292" y="1733086"/>
                    <a:chExt cx="1049253" cy="1206903"/>
                  </a:xfrm>
                </p:grpSpPr>
                <p:sp>
                  <p:nvSpPr>
                    <p:cNvPr id="175" name="Arc 174">
                      <a:extLst>
                        <a:ext uri="{FF2B5EF4-FFF2-40B4-BE49-F238E27FC236}">
                          <a16:creationId xmlns:a16="http://schemas.microsoft.com/office/drawing/2014/main" id="{B5354D75-AC10-40DF-AE1F-85829EABBBFF}"/>
                        </a:ext>
                      </a:extLst>
                    </p:cNvPr>
                    <p:cNvSpPr/>
                    <p:nvPr/>
                  </p:nvSpPr>
                  <p:spPr>
                    <a:xfrm>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sp>
                  <p:nvSpPr>
                    <p:cNvPr id="176" name="Arc 175">
                      <a:extLst>
                        <a:ext uri="{FF2B5EF4-FFF2-40B4-BE49-F238E27FC236}">
                          <a16:creationId xmlns:a16="http://schemas.microsoft.com/office/drawing/2014/main" id="{08FA2D79-82FC-40E4-842C-D102841A2F43}"/>
                        </a:ext>
                      </a:extLst>
                    </p:cNvPr>
                    <p:cNvSpPr/>
                    <p:nvPr/>
                  </p:nvSpPr>
                  <p:spPr>
                    <a:xfrm rot="10800000">
                      <a:off x="3555292" y="1733086"/>
                      <a:ext cx="1049253" cy="1206903"/>
                    </a:xfrm>
                    <a:prstGeom prst="arc">
                      <a:avLst>
                        <a:gd name="adj1" fmla="val 13588738"/>
                        <a:gd name="adj2" fmla="val 18868852"/>
                      </a:avLst>
                    </a:prstGeom>
                    <a:noFill/>
                    <a:ln w="28575">
                      <a:gradFill flip="none" rotWithShape="1">
                        <a:gsLst>
                          <a:gs pos="0">
                            <a:schemeClr val="accent2"/>
                          </a:gs>
                          <a:gs pos="100000">
                            <a:schemeClr val="tx2"/>
                          </a:gs>
                        </a:gsLst>
                        <a:lin ang="2700000" scaled="1"/>
                        <a:tileRect/>
                      </a:gradFill>
                      <a:headEnd type="oval" w="sm" len="sm"/>
                      <a:tailEnd type="oval" w="sm" len="sm"/>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sym typeface="+mn-lt"/>
                      </a:endParaRPr>
                    </a:p>
                  </p:txBody>
                </p:sp>
              </p:grpSp>
              <p:cxnSp>
                <p:nvCxnSpPr>
                  <p:cNvPr id="168" name="Straight Connector 167">
                    <a:extLst>
                      <a:ext uri="{FF2B5EF4-FFF2-40B4-BE49-F238E27FC236}">
                        <a16:creationId xmlns:a16="http://schemas.microsoft.com/office/drawing/2014/main" id="{2F6D10D8-F271-4B32-881F-1988BD2758AD}"/>
                      </a:ext>
                    </a:extLst>
                  </p:cNvPr>
                  <p:cNvCxnSpPr/>
                  <p:nvPr/>
                </p:nvCxnSpPr>
                <p:spPr>
                  <a:xfrm>
                    <a:off x="3031532" y="3368180"/>
                    <a:ext cx="1840142" cy="0"/>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cxnSp>
              <p:nvCxnSpPr>
                <p:cNvPr id="166" name="Straight Connector 165">
                  <a:extLst>
                    <a:ext uri="{FF2B5EF4-FFF2-40B4-BE49-F238E27FC236}">
                      <a16:creationId xmlns:a16="http://schemas.microsoft.com/office/drawing/2014/main" id="{113EFC3D-286A-48EE-9057-4823D974D01F}"/>
                    </a:ext>
                  </a:extLst>
                </p:cNvPr>
                <p:cNvCxnSpPr/>
                <p:nvPr/>
              </p:nvCxnSpPr>
              <p:spPr>
                <a:xfrm>
                  <a:off x="3823373" y="3112943"/>
                  <a:ext cx="0" cy="255238"/>
                </a:xfrm>
                <a:prstGeom prst="line">
                  <a:avLst/>
                </a:prstGeom>
                <a:ln w="14288" cap="rnd">
                  <a:solidFill>
                    <a:schemeClr val="tx2"/>
                  </a:solidFill>
                  <a:prstDash val="solid"/>
                  <a:round/>
                  <a:tailEnd type="none" w="med" len="med"/>
                </a:ln>
              </p:spPr>
              <p:style>
                <a:lnRef idx="1">
                  <a:schemeClr val="accent1"/>
                </a:lnRef>
                <a:fillRef idx="0">
                  <a:schemeClr val="accent1"/>
                </a:fillRef>
                <a:effectRef idx="0">
                  <a:schemeClr val="accent1"/>
                </a:effectRef>
                <a:fontRef idx="minor">
                  <a:schemeClr val="tx1"/>
                </a:fontRef>
              </p:style>
            </p:cxnSp>
          </p:grpSp>
          <p:sp>
            <p:nvSpPr>
              <p:cNvPr id="155" name="ee4pContent1">
                <a:extLst>
                  <a:ext uri="{FF2B5EF4-FFF2-40B4-BE49-F238E27FC236}">
                    <a16:creationId xmlns:a16="http://schemas.microsoft.com/office/drawing/2014/main" id="{6F0B125F-C8F6-4EC5-9900-66440A378B3E}"/>
                  </a:ext>
                </a:extLst>
              </p:cNvPr>
              <p:cNvSpPr txBox="1"/>
              <p:nvPr/>
            </p:nvSpPr>
            <p:spPr>
              <a:xfrm>
                <a:off x="7799777" y="5086467"/>
                <a:ext cx="1589688" cy="998879"/>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solidFill>
                      <a:srgbClr val="000000"/>
                    </a:solidFill>
                    <a:latin typeface="+mj-lt"/>
                  </a:rPr>
                  <a:t>People will have access to </a:t>
                </a:r>
                <a:r>
                  <a:rPr lang="en-US" sz="1400" b="1" dirty="0">
                    <a:solidFill>
                      <a:srgbClr val="164484"/>
                    </a:solidFill>
                    <a:latin typeface="+mj-lt"/>
                  </a:rPr>
                  <a:t>good-paying jobs </a:t>
                </a:r>
                <a:r>
                  <a:rPr lang="en-US" sz="1400" dirty="0">
                    <a:solidFill>
                      <a:srgbClr val="000000"/>
                    </a:solidFill>
                    <a:latin typeface="+mj-lt"/>
                  </a:rPr>
                  <a:t>and opportunities</a:t>
                </a:r>
              </a:p>
            </p:txBody>
          </p:sp>
        </p:grpSp>
      </p:grpSp>
    </p:spTree>
    <p:extLst>
      <p:ext uri="{BB962C8B-B14F-4D97-AF65-F5344CB8AC3E}">
        <p14:creationId xmlns:p14="http://schemas.microsoft.com/office/powerpoint/2010/main" val="942819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D52712-DD77-4990-B680-14C6764385D8}"/>
              </a:ext>
            </a:extLst>
          </p:cNvPr>
          <p:cNvGraphicFramePr>
            <a:graphicFrameLocks noChangeAspect="1"/>
          </p:cNvGraphicFramePr>
          <p:nvPr>
            <p:custDataLst>
              <p:tags r:id="rId2"/>
            </p:custDataLst>
            <p:extLst>
              <p:ext uri="{D42A27DB-BD31-4B8C-83A1-F6EECF244321}">
                <p14:modId xmlns:p14="http://schemas.microsoft.com/office/powerpoint/2010/main" val="3942508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0"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1D52712-DD77-4990-B680-14C6764385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8" name="Straight Connector 27">
            <a:extLst>
              <a:ext uri="{FF2B5EF4-FFF2-40B4-BE49-F238E27FC236}">
                <a16:creationId xmlns:a16="http://schemas.microsoft.com/office/drawing/2014/main" id="{10926514-8B98-48CE-99BA-21B36F106796}"/>
              </a:ext>
            </a:extLst>
          </p:cNvPr>
          <p:cNvCxnSpPr/>
          <p:nvPr/>
        </p:nvCxnSpPr>
        <p:spPr>
          <a:xfrm>
            <a:off x="7236271" y="2916804"/>
            <a:ext cx="192024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50BBB11-EB08-4A10-98D3-CA632159D084}"/>
              </a:ext>
            </a:extLst>
          </p:cNvPr>
          <p:cNvSpPr txBox="1"/>
          <p:nvPr/>
        </p:nvSpPr>
        <p:spPr>
          <a:xfrm>
            <a:off x="331930" y="3061688"/>
            <a:ext cx="2011680" cy="30777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42.45B</a:t>
            </a:r>
          </a:p>
        </p:txBody>
      </p:sp>
      <p:sp>
        <p:nvSpPr>
          <p:cNvPr id="19" name="Rectangle 18">
            <a:extLst>
              <a:ext uri="{FF2B5EF4-FFF2-40B4-BE49-F238E27FC236}">
                <a16:creationId xmlns:a16="http://schemas.microsoft.com/office/drawing/2014/main" id="{B15B56F3-76DC-44D3-A199-BCE7E6918BC8}"/>
              </a:ext>
            </a:extLst>
          </p:cNvPr>
          <p:cNvSpPr/>
          <p:nvPr/>
        </p:nvSpPr>
        <p:spPr>
          <a:xfrm>
            <a:off x="280995" y="3492974"/>
            <a:ext cx="2113549" cy="3108543"/>
          </a:xfrm>
          <a:prstGeom prst="rect">
            <a:avLst/>
          </a:prstGeom>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Broadband Equity, Access &amp; Deployment Program </a:t>
            </a:r>
          </a:p>
          <a:p>
            <a:pPr algn="ctr"/>
            <a:r>
              <a:rPr lang="en-US" sz="1400" b="1" i="1" dirty="0">
                <a:solidFill>
                  <a:schemeClr val="accent4"/>
                </a:solidFill>
                <a:latin typeface="Arial" panose="020B0604020202020204" pitchFamily="34" charset="0"/>
                <a:cs typeface="Arial" panose="020B0604020202020204" pitchFamily="34" charset="0"/>
              </a:rPr>
              <a:t> </a:t>
            </a:r>
          </a:p>
          <a:p>
            <a:pPr algn="ctr"/>
            <a:r>
              <a:rPr lang="en-US" sz="1400" dirty="0">
                <a:solidFill>
                  <a:schemeClr val="bg2">
                    <a:lumMod val="25000"/>
                  </a:schemeClr>
                </a:solidFill>
                <a:latin typeface="+mj-lt"/>
                <a:cs typeface="Arial" panose="020B0604020202020204" pitchFamily="34" charset="0"/>
              </a:rPr>
              <a:t>A program to get all Americans online by funding partnerships between states or territories, communities, and stakeholders to build infrastructure where we need it to and increase adoption of high-speed internet.</a:t>
            </a:r>
          </a:p>
        </p:txBody>
      </p:sp>
      <p:cxnSp>
        <p:nvCxnSpPr>
          <p:cNvPr id="23" name="Straight Connector 22">
            <a:extLst>
              <a:ext uri="{FF2B5EF4-FFF2-40B4-BE49-F238E27FC236}">
                <a16:creationId xmlns:a16="http://schemas.microsoft.com/office/drawing/2014/main" id="{090EE34E-29E1-4663-A219-8E270F33200F}"/>
              </a:ext>
            </a:extLst>
          </p:cNvPr>
          <p:cNvCxnSpPr>
            <a:cxnSpLocks/>
          </p:cNvCxnSpPr>
          <p:nvPr/>
        </p:nvCxnSpPr>
        <p:spPr>
          <a:xfrm>
            <a:off x="331930" y="2916804"/>
            <a:ext cx="201168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5B71623-F605-4865-B506-ADE23F3694F3}"/>
              </a:ext>
            </a:extLst>
          </p:cNvPr>
          <p:cNvSpPr txBox="1"/>
          <p:nvPr/>
        </p:nvSpPr>
        <p:spPr>
          <a:xfrm>
            <a:off x="331930" y="2389150"/>
            <a:ext cx="2011680" cy="307777"/>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BEAD</a:t>
            </a:r>
          </a:p>
        </p:txBody>
      </p:sp>
      <p:sp>
        <p:nvSpPr>
          <p:cNvPr id="17" name="TextBox 16">
            <a:extLst>
              <a:ext uri="{FF2B5EF4-FFF2-40B4-BE49-F238E27FC236}">
                <a16:creationId xmlns:a16="http://schemas.microsoft.com/office/drawing/2014/main" id="{AAFA354E-41D7-4A1C-BE96-BC040F959521}"/>
              </a:ext>
            </a:extLst>
          </p:cNvPr>
          <p:cNvSpPr txBox="1"/>
          <p:nvPr/>
        </p:nvSpPr>
        <p:spPr>
          <a:xfrm>
            <a:off x="2663856" y="3047943"/>
            <a:ext cx="1920240" cy="31376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2.75B</a:t>
            </a:r>
          </a:p>
        </p:txBody>
      </p:sp>
      <p:sp>
        <p:nvSpPr>
          <p:cNvPr id="21" name="Rectangle 20">
            <a:extLst>
              <a:ext uri="{FF2B5EF4-FFF2-40B4-BE49-F238E27FC236}">
                <a16:creationId xmlns:a16="http://schemas.microsoft.com/office/drawing/2014/main" id="{9188152E-EAB9-4762-8E64-C00169A762FE}"/>
              </a:ext>
            </a:extLst>
          </p:cNvPr>
          <p:cNvSpPr/>
          <p:nvPr/>
        </p:nvSpPr>
        <p:spPr>
          <a:xfrm>
            <a:off x="2567202" y="3492974"/>
            <a:ext cx="2113549" cy="2893100"/>
          </a:xfrm>
          <a:prstGeom prst="rect">
            <a:avLst/>
          </a:prstGeom>
          <a:noFill/>
          <a:extLst>
            <a:ext uri="{909E8E84-426E-40DD-AFC4-6F175D3DCCD1}">
              <a14:hiddenFill xmlns:a14="http://schemas.microsoft.com/office/drawing/2010/main">
                <a:solidFill>
                  <a:srgbClr val="245795"/>
                </a:solidFill>
              </a14:hiddenFill>
            </a:ext>
          </a:extLst>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Digital Equity Act</a:t>
            </a:r>
          </a:p>
          <a:p>
            <a:pPr algn="ctr"/>
            <a:endParaRPr lang="en-US" sz="1400" dirty="0">
              <a:solidFill>
                <a:schemeClr val="bg2">
                  <a:lumMod val="25000"/>
                </a:schemeClr>
              </a:solidFill>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chemeClr val="bg2">
                    <a:lumMod val="25000"/>
                  </a:schemeClr>
                </a:solidFill>
                <a:latin typeface="+mj-lt"/>
                <a:cs typeface="Arial" panose="020B0604020202020204" pitchFamily="34" charset="0"/>
              </a:rPr>
              <a:t>Three programs that provide funding to promote digital inclusion and advance equity for all. They aim to ensure that all communities can access and use affordable, reliable</a:t>
            </a:r>
            <a:r>
              <a:rPr lang="en-US" sz="1400" dirty="0">
                <a:solidFill>
                  <a:srgbClr val="FF0000"/>
                </a:solidFill>
                <a:latin typeface="+mj-lt"/>
                <a:cs typeface="Arial" panose="020B0604020202020204" pitchFamily="34" charset="0"/>
              </a:rPr>
              <a:t>,</a:t>
            </a:r>
            <a:r>
              <a:rPr lang="en-US" sz="1400" dirty="0">
                <a:solidFill>
                  <a:schemeClr val="bg2">
                    <a:lumMod val="25000"/>
                  </a:schemeClr>
                </a:solidFill>
                <a:latin typeface="+mj-lt"/>
                <a:cs typeface="Arial" panose="020B0604020202020204" pitchFamily="34" charset="0"/>
              </a:rPr>
              <a:t> high-speed internet to meet their needs and improve their lives. </a:t>
            </a:r>
          </a:p>
        </p:txBody>
      </p:sp>
      <p:cxnSp>
        <p:nvCxnSpPr>
          <p:cNvPr id="26" name="Straight Connector 25">
            <a:extLst>
              <a:ext uri="{FF2B5EF4-FFF2-40B4-BE49-F238E27FC236}">
                <a16:creationId xmlns:a16="http://schemas.microsoft.com/office/drawing/2014/main" id="{86BB0E32-B382-49FF-B007-D0FE8701765B}"/>
              </a:ext>
            </a:extLst>
          </p:cNvPr>
          <p:cNvCxnSpPr/>
          <p:nvPr/>
        </p:nvCxnSpPr>
        <p:spPr>
          <a:xfrm>
            <a:off x="2663856" y="2916804"/>
            <a:ext cx="192024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4667E73F-2877-44DD-A3C9-A9815F0C0410}"/>
              </a:ext>
            </a:extLst>
          </p:cNvPr>
          <p:cNvSpPr txBox="1"/>
          <p:nvPr/>
        </p:nvSpPr>
        <p:spPr>
          <a:xfrm>
            <a:off x="2663856" y="2235262"/>
            <a:ext cx="1920240" cy="615553"/>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DIGITAL </a:t>
            </a:r>
            <a:br>
              <a:rPr lang="en-US" sz="2000" dirty="0">
                <a:solidFill>
                  <a:srgbClr val="164484"/>
                </a:solidFill>
                <a:latin typeface="Arial" panose="020B0604020202020204" pitchFamily="34" charset="0"/>
                <a:cs typeface="Arial" panose="020B0604020202020204" pitchFamily="34" charset="0"/>
              </a:rPr>
            </a:br>
            <a:r>
              <a:rPr lang="en-US" sz="2000" dirty="0">
                <a:solidFill>
                  <a:srgbClr val="164484"/>
                </a:solidFill>
                <a:latin typeface="Arial" panose="020B0604020202020204" pitchFamily="34" charset="0"/>
                <a:cs typeface="Arial" panose="020B0604020202020204" pitchFamily="34" charset="0"/>
              </a:rPr>
              <a:t>EQUITY</a:t>
            </a:r>
          </a:p>
        </p:txBody>
      </p:sp>
      <p:sp>
        <p:nvSpPr>
          <p:cNvPr id="11" name="Rectangle 10">
            <a:extLst>
              <a:ext uri="{FF2B5EF4-FFF2-40B4-BE49-F238E27FC236}">
                <a16:creationId xmlns:a16="http://schemas.microsoft.com/office/drawing/2014/main" id="{49F1AD04-DD86-423C-A9FE-EA91981F79AD}"/>
              </a:ext>
            </a:extLst>
          </p:cNvPr>
          <p:cNvSpPr/>
          <p:nvPr/>
        </p:nvSpPr>
        <p:spPr>
          <a:xfrm>
            <a:off x="4771653" y="3492974"/>
            <a:ext cx="2277063" cy="1600438"/>
          </a:xfrm>
          <a:prstGeom prst="rect">
            <a:avLst/>
          </a:prstGeom>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Tribal Connectivity Technical Amendments </a:t>
            </a:r>
          </a:p>
          <a:p>
            <a:pPr algn="ctr"/>
            <a:endParaRPr lang="en-US" sz="1400" dirty="0">
              <a:solidFill>
                <a:schemeClr val="bg2">
                  <a:lumMod val="25000"/>
                </a:schemeClr>
              </a:solidFill>
              <a:latin typeface="Arial" panose="020B0604020202020204" pitchFamily="34" charset="0"/>
              <a:ea typeface="Times New Roman" panose="02020603050405020304" pitchFamily="18" charset="0"/>
              <a:cs typeface="Arial" panose="020B0604020202020204" pitchFamily="34" charset="0"/>
            </a:endParaRPr>
          </a:p>
          <a:p>
            <a:pPr algn="ctr"/>
            <a:r>
              <a:rPr lang="en-US" sz="1400" dirty="0">
                <a:solidFill>
                  <a:schemeClr val="bg2">
                    <a:lumMod val="25000"/>
                  </a:schemeClr>
                </a:solidFill>
                <a:latin typeface="+mj-lt"/>
                <a:ea typeface="Times New Roman" panose="02020603050405020304" pitchFamily="18" charset="0"/>
                <a:cs typeface="Arial" panose="020B0604020202020204" pitchFamily="34" charset="0"/>
              </a:rPr>
              <a:t>A program to help tribal communities expand high-speed internet access and adoption on tribal lands.</a:t>
            </a:r>
          </a:p>
        </p:txBody>
      </p:sp>
      <p:sp>
        <p:nvSpPr>
          <p:cNvPr id="16" name="TextBox 15">
            <a:extLst>
              <a:ext uri="{FF2B5EF4-FFF2-40B4-BE49-F238E27FC236}">
                <a16:creationId xmlns:a16="http://schemas.microsoft.com/office/drawing/2014/main" id="{E5B62CB8-7DF0-462B-A99F-3E2F156606AC}"/>
              </a:ext>
            </a:extLst>
          </p:cNvPr>
          <p:cNvSpPr txBox="1"/>
          <p:nvPr/>
        </p:nvSpPr>
        <p:spPr>
          <a:xfrm>
            <a:off x="4950064" y="3020451"/>
            <a:ext cx="1920240" cy="31376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2.00B</a:t>
            </a:r>
          </a:p>
        </p:txBody>
      </p:sp>
      <p:cxnSp>
        <p:nvCxnSpPr>
          <p:cNvPr id="27" name="Straight Connector 26">
            <a:extLst>
              <a:ext uri="{FF2B5EF4-FFF2-40B4-BE49-F238E27FC236}">
                <a16:creationId xmlns:a16="http://schemas.microsoft.com/office/drawing/2014/main" id="{0A0E6880-2691-4C54-9536-B36D7D3275B4}"/>
              </a:ext>
            </a:extLst>
          </p:cNvPr>
          <p:cNvCxnSpPr/>
          <p:nvPr/>
        </p:nvCxnSpPr>
        <p:spPr>
          <a:xfrm>
            <a:off x="4950064" y="2916804"/>
            <a:ext cx="192024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E0A8696-759D-4810-851A-EBD6BC6ECD2A}"/>
              </a:ext>
            </a:extLst>
          </p:cNvPr>
          <p:cNvSpPr txBox="1"/>
          <p:nvPr/>
        </p:nvSpPr>
        <p:spPr>
          <a:xfrm>
            <a:off x="4950064" y="2389150"/>
            <a:ext cx="1920240" cy="307777"/>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TRIBAL</a:t>
            </a:r>
          </a:p>
        </p:txBody>
      </p:sp>
      <p:sp>
        <p:nvSpPr>
          <p:cNvPr id="18" name="TextBox 17">
            <a:extLst>
              <a:ext uri="{FF2B5EF4-FFF2-40B4-BE49-F238E27FC236}">
                <a16:creationId xmlns:a16="http://schemas.microsoft.com/office/drawing/2014/main" id="{DC6019DD-243C-4490-93E7-8B5D8384C267}"/>
              </a:ext>
            </a:extLst>
          </p:cNvPr>
          <p:cNvSpPr txBox="1"/>
          <p:nvPr/>
        </p:nvSpPr>
        <p:spPr>
          <a:xfrm>
            <a:off x="7236271" y="3034197"/>
            <a:ext cx="1920240" cy="313767"/>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164484"/>
                </a:solidFill>
                <a:latin typeface="Arial" panose="020B0604020202020204" pitchFamily="34" charset="0"/>
                <a:cs typeface="Arial" panose="020B0604020202020204" pitchFamily="34" charset="0"/>
              </a:rPr>
              <a:t>$1.00B</a:t>
            </a:r>
          </a:p>
        </p:txBody>
      </p:sp>
      <p:sp>
        <p:nvSpPr>
          <p:cNvPr id="22" name="Rectangle 21">
            <a:extLst>
              <a:ext uri="{FF2B5EF4-FFF2-40B4-BE49-F238E27FC236}">
                <a16:creationId xmlns:a16="http://schemas.microsoft.com/office/drawing/2014/main" id="{F36CA775-9D65-45B9-A75A-91A812A90791}"/>
              </a:ext>
            </a:extLst>
          </p:cNvPr>
          <p:cNvSpPr/>
          <p:nvPr/>
        </p:nvSpPr>
        <p:spPr>
          <a:xfrm>
            <a:off x="7139616" y="3492974"/>
            <a:ext cx="2113549" cy="2246769"/>
          </a:xfrm>
          <a:prstGeom prst="rect">
            <a:avLst/>
          </a:prstGeom>
        </p:spPr>
        <p:txBody>
          <a:bodyPr wrap="square">
            <a:spAutoFit/>
          </a:bodyPr>
          <a:lstStyle/>
          <a:p>
            <a:pPr algn="ctr"/>
            <a:r>
              <a:rPr lang="en-US" sz="1400" b="1" dirty="0">
                <a:solidFill>
                  <a:srgbClr val="164484"/>
                </a:solidFill>
                <a:latin typeface="Arial" panose="020B0604020202020204" pitchFamily="34" charset="0"/>
                <a:cs typeface="Arial" panose="020B0604020202020204" pitchFamily="34" charset="0"/>
              </a:rPr>
              <a:t>Enabling Middle Mile Broadband Infrastructure</a:t>
            </a:r>
          </a:p>
          <a:p>
            <a:pPr algn="ctr"/>
            <a:endParaRPr lang="en-US" sz="1400" dirty="0">
              <a:solidFill>
                <a:schemeClr val="bg2">
                  <a:lumMod val="25000"/>
                </a:schemeClr>
              </a:solidFill>
              <a:latin typeface="Arial" panose="020B0604020202020204" pitchFamily="34" charset="0"/>
              <a:cs typeface="Arial" panose="020B0604020202020204" pitchFamily="34" charset="0"/>
            </a:endParaRPr>
          </a:p>
          <a:p>
            <a:pPr algn="ctr"/>
            <a:r>
              <a:rPr lang="en-US" sz="1400" dirty="0">
                <a:solidFill>
                  <a:schemeClr val="bg2">
                    <a:lumMod val="25000"/>
                  </a:schemeClr>
                </a:solidFill>
                <a:latin typeface="+mj-lt"/>
                <a:cs typeface="Arial" panose="020B0604020202020204" pitchFamily="34" charset="0"/>
              </a:rPr>
              <a:t>A program to expand middle mile infrastructure, to reduce the cost of connecting unserved and underserved areas.</a:t>
            </a:r>
          </a:p>
        </p:txBody>
      </p:sp>
      <p:sp>
        <p:nvSpPr>
          <p:cNvPr id="32" name="TextBox 31">
            <a:extLst>
              <a:ext uri="{FF2B5EF4-FFF2-40B4-BE49-F238E27FC236}">
                <a16:creationId xmlns:a16="http://schemas.microsoft.com/office/drawing/2014/main" id="{CB0E4889-4650-4B95-B0C2-434935FDBAE4}"/>
              </a:ext>
            </a:extLst>
          </p:cNvPr>
          <p:cNvSpPr txBox="1"/>
          <p:nvPr/>
        </p:nvSpPr>
        <p:spPr>
          <a:xfrm>
            <a:off x="7236271" y="2235262"/>
            <a:ext cx="1920240" cy="615553"/>
          </a:xfrm>
          <a:prstGeom prst="rect">
            <a:avLst/>
          </a:prstGeom>
          <a:noFill/>
        </p:spPr>
        <p:txBody>
          <a:bodyPr vert="horz" wrap="square" lIns="0" tIns="0" rIns="0" bIns="0" rtlCol="0">
            <a:spAutoFit/>
          </a:bodyPr>
          <a:lstStyle/>
          <a:p>
            <a:pPr algn="ctr">
              <a:spcBef>
                <a:spcPts val="200"/>
              </a:spcBef>
              <a:buSzPct val="100000"/>
            </a:pPr>
            <a:r>
              <a:rPr lang="en-US" sz="2000" dirty="0">
                <a:solidFill>
                  <a:srgbClr val="164484"/>
                </a:solidFill>
                <a:latin typeface="Arial" panose="020B0604020202020204" pitchFamily="34" charset="0"/>
                <a:cs typeface="Arial" panose="020B0604020202020204" pitchFamily="34" charset="0"/>
              </a:rPr>
              <a:t>MIDDLE </a:t>
            </a:r>
            <a:br>
              <a:rPr lang="en-US" sz="2000" dirty="0">
                <a:solidFill>
                  <a:srgbClr val="164484"/>
                </a:solidFill>
                <a:latin typeface="Arial" panose="020B0604020202020204" pitchFamily="34" charset="0"/>
                <a:cs typeface="Arial" panose="020B0604020202020204" pitchFamily="34" charset="0"/>
              </a:rPr>
            </a:br>
            <a:r>
              <a:rPr lang="en-US" sz="2000" dirty="0">
                <a:solidFill>
                  <a:srgbClr val="164484"/>
                </a:solidFill>
                <a:latin typeface="Arial" panose="020B0604020202020204" pitchFamily="34" charset="0"/>
                <a:cs typeface="Arial" panose="020B0604020202020204" pitchFamily="34" charset="0"/>
              </a:rPr>
              <a:t>MILE</a:t>
            </a:r>
          </a:p>
        </p:txBody>
      </p:sp>
      <p:sp>
        <p:nvSpPr>
          <p:cNvPr id="33" name="Rectangle 32">
            <a:extLst>
              <a:ext uri="{FF2B5EF4-FFF2-40B4-BE49-F238E27FC236}">
                <a16:creationId xmlns:a16="http://schemas.microsoft.com/office/drawing/2014/main" id="{16379468-60BB-42E5-AA9D-D2EA1BFDFAC6}"/>
              </a:ext>
            </a:extLst>
          </p:cNvPr>
          <p:cNvSpPr/>
          <p:nvPr/>
        </p:nvSpPr>
        <p:spPr bwMode="gray">
          <a:xfrm>
            <a:off x="458717" y="1551196"/>
            <a:ext cx="8718176" cy="499619"/>
          </a:xfrm>
          <a:prstGeom prst="rect">
            <a:avLst/>
          </a:prstGeom>
          <a:solidFill>
            <a:srgbClr val="164484"/>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0A3161"/>
                </a:solidFill>
                <a:prstDash val="solid"/>
                <a:miter lim="800000"/>
                <a:headEnd type="none" w="med" len="med"/>
                <a:tailEnd type="none" w="med" len="med"/>
              </a14:hiddenLine>
            </a:ext>
          </a:extLst>
        </p:spPr>
        <p:txBody>
          <a:bodyPr wrap="square" lIns="88900" tIns="88900" rIns="88900" bIns="88900" rtlCol="0" anchor="ctr"/>
          <a:lstStyle/>
          <a:p>
            <a:pPr algn="ctr">
              <a:lnSpc>
                <a:spcPct val="106000"/>
              </a:lnSpc>
              <a:buFont typeface="Wingdings 2" pitchFamily="18" charset="2"/>
              <a:buNone/>
            </a:pPr>
            <a:r>
              <a:rPr lang="en-US" b="1" dirty="0">
                <a:solidFill>
                  <a:schemeClr val="bg1"/>
                </a:solidFill>
                <a:latin typeface="Arial" panose="020B0604020202020204" pitchFamily="34" charset="0"/>
                <a:cs typeface="Arial" panose="020B0604020202020204" pitchFamily="34" charset="0"/>
              </a:rPr>
              <a:t>NTIA will administer ~$48B of funding from the Bipartisan Infrastructure Law</a:t>
            </a:r>
          </a:p>
        </p:txBody>
      </p:sp>
      <p:sp>
        <p:nvSpPr>
          <p:cNvPr id="14" name="Title 13">
            <a:extLst>
              <a:ext uri="{FF2B5EF4-FFF2-40B4-BE49-F238E27FC236}">
                <a16:creationId xmlns:a16="http://schemas.microsoft.com/office/drawing/2014/main" id="{0AACD6DD-6FA1-46D9-92D2-11E3A1356377}"/>
              </a:ext>
            </a:extLst>
          </p:cNvPr>
          <p:cNvSpPr>
            <a:spLocks noGrp="1"/>
          </p:cNvSpPr>
          <p:nvPr>
            <p:ph type="title"/>
          </p:nvPr>
        </p:nvSpPr>
        <p:spPr>
          <a:xfrm>
            <a:off x="400050" y="387882"/>
            <a:ext cx="10115549" cy="566735"/>
          </a:xfrm>
          <a:prstGeom prst="rect">
            <a:avLst/>
          </a:prstGeom>
        </p:spPr>
        <p:txBody>
          <a:bodyPr vert="horz">
            <a:noAutofit/>
          </a:bodyPr>
          <a:lstStyle/>
          <a:p>
            <a:pPr>
              <a:buSzPts val="3000"/>
            </a:pPr>
            <a:r>
              <a:rPr lang="en-US" sz="2700" cap="none" dirty="0" err="1">
                <a:solidFill>
                  <a:srgbClr val="164484"/>
                </a:solidFill>
              </a:rPr>
              <a:t>NTIA</a:t>
            </a:r>
            <a:r>
              <a:rPr lang="en-US" sz="2700" cap="none" dirty="0">
                <a:solidFill>
                  <a:srgbClr val="164484"/>
                </a:solidFill>
              </a:rPr>
              <a:t> will administer ~$48B through four programs that drive high-speed internet access, affordability, and adoption</a:t>
            </a:r>
          </a:p>
        </p:txBody>
      </p:sp>
      <p:sp>
        <p:nvSpPr>
          <p:cNvPr id="45" name="Rectangle 44">
            <a:extLst>
              <a:ext uri="{FF2B5EF4-FFF2-40B4-BE49-F238E27FC236}">
                <a16:creationId xmlns:a16="http://schemas.microsoft.com/office/drawing/2014/main" id="{81817683-5890-4E8E-A329-61C3CE05C0B8}"/>
              </a:ext>
            </a:extLst>
          </p:cNvPr>
          <p:cNvSpPr/>
          <p:nvPr/>
        </p:nvSpPr>
        <p:spPr bwMode="gray">
          <a:xfrm>
            <a:off x="9408214" y="1551196"/>
            <a:ext cx="2584705"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88900" tIns="88900" rIns="88900" bIns="88900" rtlCol="0" anchor="ctr"/>
          <a:lstStyle/>
          <a:p>
            <a:pPr algn="ctr">
              <a:lnSpc>
                <a:spcPct val="106000"/>
              </a:lnSpc>
              <a:buFont typeface="Wingdings 2" pitchFamily="18" charset="2"/>
              <a:buNone/>
            </a:pPr>
            <a:r>
              <a:rPr lang="en-US" sz="1400" b="1" dirty="0">
                <a:solidFill>
                  <a:schemeClr val="bg1"/>
                </a:solidFill>
              </a:rPr>
              <a:t>FCC to administer $14.2B</a:t>
            </a:r>
            <a:endParaRPr lang="en-US" sz="1400" dirty="0">
              <a:solidFill>
                <a:schemeClr val="bg1"/>
              </a:solidFill>
            </a:endParaRPr>
          </a:p>
        </p:txBody>
      </p:sp>
      <p:sp>
        <p:nvSpPr>
          <p:cNvPr id="51" name="Rectangle 50">
            <a:extLst>
              <a:ext uri="{FF2B5EF4-FFF2-40B4-BE49-F238E27FC236}">
                <a16:creationId xmlns:a16="http://schemas.microsoft.com/office/drawing/2014/main" id="{DDFDE61A-D324-4CFD-B4FB-CA38F7ACC73A}"/>
              </a:ext>
            </a:extLst>
          </p:cNvPr>
          <p:cNvSpPr/>
          <p:nvPr/>
        </p:nvSpPr>
        <p:spPr>
          <a:xfrm>
            <a:off x="9408214" y="2050815"/>
            <a:ext cx="2584705" cy="738664"/>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400" dirty="0">
                <a:solidFill>
                  <a:srgbClr val="000000"/>
                </a:solidFill>
              </a:rPr>
              <a:t>For Affordable Connectivity Program, which replaced the EBB program</a:t>
            </a:r>
          </a:p>
        </p:txBody>
      </p:sp>
      <p:sp>
        <p:nvSpPr>
          <p:cNvPr id="48" name="Rectangle 47">
            <a:extLst>
              <a:ext uri="{FF2B5EF4-FFF2-40B4-BE49-F238E27FC236}">
                <a16:creationId xmlns:a16="http://schemas.microsoft.com/office/drawing/2014/main" id="{441359F4-9687-4EE4-99D8-F7BA943B1925}"/>
              </a:ext>
            </a:extLst>
          </p:cNvPr>
          <p:cNvSpPr/>
          <p:nvPr/>
        </p:nvSpPr>
        <p:spPr bwMode="gray">
          <a:xfrm>
            <a:off x="9408214" y="3121029"/>
            <a:ext cx="2584705"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18288" tIns="88900" rIns="18288" bIns="88900" rtlCol="0" anchor="ctr"/>
          <a:lstStyle/>
          <a:p>
            <a:pPr algn="ctr">
              <a:lnSpc>
                <a:spcPct val="106000"/>
              </a:lnSpc>
              <a:buFont typeface="Wingdings 2" pitchFamily="18" charset="2"/>
              <a:buNone/>
            </a:pPr>
            <a:r>
              <a:rPr lang="en-US" sz="1400" b="1" dirty="0">
                <a:solidFill>
                  <a:schemeClr val="bg1"/>
                </a:solidFill>
              </a:rPr>
              <a:t>USDA to administer $2.0B</a:t>
            </a:r>
            <a:endParaRPr lang="en-US" sz="1400" dirty="0">
              <a:solidFill>
                <a:schemeClr val="bg1"/>
              </a:solidFill>
            </a:endParaRPr>
          </a:p>
        </p:txBody>
      </p:sp>
      <p:sp>
        <p:nvSpPr>
          <p:cNvPr id="52" name="Rectangle 51">
            <a:extLst>
              <a:ext uri="{FF2B5EF4-FFF2-40B4-BE49-F238E27FC236}">
                <a16:creationId xmlns:a16="http://schemas.microsoft.com/office/drawing/2014/main" id="{C0DA0FFA-9DCC-4723-A326-6A36D9C3966D}"/>
              </a:ext>
            </a:extLst>
          </p:cNvPr>
          <p:cNvSpPr/>
          <p:nvPr/>
        </p:nvSpPr>
        <p:spPr>
          <a:xfrm>
            <a:off x="9408214" y="3620648"/>
            <a:ext cx="2584705" cy="307777"/>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400" dirty="0">
                <a:solidFill>
                  <a:srgbClr val="000000"/>
                </a:solidFill>
              </a:rPr>
              <a:t>Via the Rural Utilities Service</a:t>
            </a:r>
          </a:p>
        </p:txBody>
      </p:sp>
      <p:sp>
        <p:nvSpPr>
          <p:cNvPr id="53" name="Rectangle 52">
            <a:extLst>
              <a:ext uri="{FF2B5EF4-FFF2-40B4-BE49-F238E27FC236}">
                <a16:creationId xmlns:a16="http://schemas.microsoft.com/office/drawing/2014/main" id="{935CE39D-266C-4BCD-AC07-6B7D4CAF4105}"/>
              </a:ext>
            </a:extLst>
          </p:cNvPr>
          <p:cNvSpPr/>
          <p:nvPr/>
        </p:nvSpPr>
        <p:spPr bwMode="gray">
          <a:xfrm>
            <a:off x="9408215" y="4259975"/>
            <a:ext cx="2584705"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18288" tIns="88900" rIns="18288" bIns="88900" rtlCol="0" anchor="ctr"/>
          <a:lstStyle/>
          <a:p>
            <a:pPr algn="ctr">
              <a:lnSpc>
                <a:spcPct val="106000"/>
              </a:lnSpc>
              <a:buFont typeface="Wingdings 2" pitchFamily="18" charset="2"/>
              <a:buNone/>
            </a:pPr>
            <a:r>
              <a:rPr lang="en-US" sz="1400" b="1" dirty="0">
                <a:solidFill>
                  <a:schemeClr val="bg1"/>
                </a:solidFill>
              </a:rPr>
              <a:t>Private Activity Bonds $0.6B</a:t>
            </a:r>
            <a:endParaRPr lang="en-US" sz="1400" dirty="0">
              <a:solidFill>
                <a:schemeClr val="bg1"/>
              </a:solidFill>
            </a:endParaRPr>
          </a:p>
        </p:txBody>
      </p:sp>
      <p:sp>
        <p:nvSpPr>
          <p:cNvPr id="56" name="Rectangle 55">
            <a:extLst>
              <a:ext uri="{FF2B5EF4-FFF2-40B4-BE49-F238E27FC236}">
                <a16:creationId xmlns:a16="http://schemas.microsoft.com/office/drawing/2014/main" id="{41D6F565-DF0A-4B2F-A04D-D9E50C5ED4A3}"/>
              </a:ext>
            </a:extLst>
          </p:cNvPr>
          <p:cNvSpPr/>
          <p:nvPr/>
        </p:nvSpPr>
        <p:spPr>
          <a:xfrm>
            <a:off x="9408215" y="4759594"/>
            <a:ext cx="2584705" cy="954107"/>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400" dirty="0">
                <a:solidFill>
                  <a:srgbClr val="000000"/>
                </a:solidFill>
                <a:ea typeface="Calibri" panose="020F0502020204030204" pitchFamily="34" charset="0"/>
              </a:rPr>
              <a:t>Authorizes State and local governments to use private activity bonds for rural broadband</a:t>
            </a:r>
          </a:p>
        </p:txBody>
      </p:sp>
    </p:spTree>
    <p:extLst>
      <p:ext uri="{BB962C8B-B14F-4D97-AF65-F5344CB8AC3E}">
        <p14:creationId xmlns:p14="http://schemas.microsoft.com/office/powerpoint/2010/main" val="2775504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LANGUAGE_ID" val="1033"/>
  <p:tag name="EE4P_MASTERWIZARD_MARGINS" val="0"/>
  <p:tag name="EE4P_MASTERWIZARD_DRAFT" val="1"/>
  <p:tag name="EE4P_STYLE_ID" val="GV7k5UzN"/>
  <p:tag name="EE4P_STYLE_NAME" val="Formal External Templates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7_qOYQPlxf0MmYyS4PKc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3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3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7_qOYQPlxf0MmYyS4PKcw"/>
</p:tagLst>
</file>

<file path=ppt/tags/tag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Draft"/>
</p:tagLst>
</file>

<file path=ppt/theme/theme1.xml><?xml version="1.0" encoding="utf-8"?>
<a:theme xmlns:a="http://schemas.openxmlformats.org/drawingml/2006/main" name="Formal External Templates Grid 16:9 - 16637">
  <a:themeElements>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64484"/>
        </a:solidFill>
        <a:ln w="9525" cap="rnd" cmpd="sng" algn="ctr">
          <a:solidFill>
            <a:srgbClr val="16448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Formal External Templates Grid 16:9 - 16637">
  <a:themeElements>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64484"/>
        </a:solidFill>
        <a:ln w="9525" cap="rnd" cmpd="sng" algn="ctr">
          <a:solidFill>
            <a:srgbClr val="16448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0.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1.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2.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3.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4.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5.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16.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2.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3.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4.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5.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6.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7.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8.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9.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4EB7B4FDF8F84EB6B6FB5CB37FF8F4" ma:contentTypeVersion="16" ma:contentTypeDescription="Create a new document." ma:contentTypeScope="" ma:versionID="38a3ec62b7d2c911b5ed73ab3088e8a0">
  <xsd:schema xmlns:xsd="http://www.w3.org/2001/XMLSchema" xmlns:xs="http://www.w3.org/2001/XMLSchema" xmlns:p="http://schemas.microsoft.com/office/2006/metadata/properties" xmlns:ns2="4db3d591-4a7d-465d-9fac-69dc62f1cdbb" xmlns:ns3="f9cb4538-9750-442f-a880-3d3c3126c362" targetNamespace="http://schemas.microsoft.com/office/2006/metadata/properties" ma:root="true" ma:fieldsID="34a24026f8c1e6d9c7829fd01103b271" ns2:_="" ns3:_="">
    <xsd:import namespace="4db3d591-4a7d-465d-9fac-69dc62f1cdbb"/>
    <xsd:import namespace="f9cb4538-9750-442f-a880-3d3c3126c36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b3d591-4a7d-465d-9fac-69dc62f1cdb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149f6ec5-ac30-461c-9d0c-abcc0e622022}" ma:internalName="TaxCatchAll" ma:showField="CatchAllData" ma:web="4db3d591-4a7d-465d-9fac-69dc62f1cdb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9cb4538-9750-442f-a880-3d3c3126c362"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d26ada6-e9e3-42d5-b5bc-2dbbcd179c28"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9cb4538-9750-442f-a880-3d3c3126c362">
      <Terms xmlns="http://schemas.microsoft.com/office/infopath/2007/PartnerControls"/>
    </lcf76f155ced4ddcb4097134ff3c332f>
    <TaxCatchAll xmlns="4db3d591-4a7d-465d-9fac-69dc62f1cdbb" xsi:nil="true"/>
  </documentManagement>
</p:properties>
</file>

<file path=customXml/itemProps1.xml><?xml version="1.0" encoding="utf-8"?>
<ds:datastoreItem xmlns:ds="http://schemas.openxmlformats.org/officeDocument/2006/customXml" ds:itemID="{D8B74580-A262-41A6-A22B-E85C2405A695}">
  <ds:schemaRefs>
    <ds:schemaRef ds:uri="http://schemas.microsoft.com/sharepoint/v3/contenttype/forms"/>
  </ds:schemaRefs>
</ds:datastoreItem>
</file>

<file path=customXml/itemProps2.xml><?xml version="1.0" encoding="utf-8"?>
<ds:datastoreItem xmlns:ds="http://schemas.openxmlformats.org/officeDocument/2006/customXml" ds:itemID="{6033F967-2AF1-486F-97A7-80DE0475330A}"/>
</file>

<file path=customXml/itemProps3.xml><?xml version="1.0" encoding="utf-8"?>
<ds:datastoreItem xmlns:ds="http://schemas.openxmlformats.org/officeDocument/2006/customXml" ds:itemID="{EB1D8BC7-8292-4770-B241-A08980BB7FF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2175</Words>
  <Application>Microsoft Office PowerPoint</Application>
  <PresentationFormat>Widescreen</PresentationFormat>
  <Paragraphs>278</Paragraphs>
  <Slides>16</Slides>
  <Notes>14</Notes>
  <HiddenSlides>0</HiddenSlides>
  <MMClips>0</MMClips>
  <ScaleCrop>false</ScaleCrop>
  <HeadingPairs>
    <vt:vector size="10"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6</vt:i4>
      </vt:variant>
      <vt:variant>
        <vt:lpstr>Custom Shows</vt:lpstr>
      </vt:variant>
      <vt:variant>
        <vt:i4>1</vt:i4>
      </vt:variant>
    </vt:vector>
  </HeadingPairs>
  <TitlesOfParts>
    <vt:vector size="24" baseType="lpstr">
      <vt:lpstr>Arial</vt:lpstr>
      <vt:lpstr>Calibri</vt:lpstr>
      <vt:lpstr>Trebuchet MS</vt:lpstr>
      <vt:lpstr>Wingdings 2</vt:lpstr>
      <vt:lpstr>Formal External Templates Grid 16:9 - 16637</vt:lpstr>
      <vt:lpstr>1_Formal External Templates Grid 16:9 - 16637</vt:lpstr>
      <vt:lpstr>think-cell Slide</vt:lpstr>
      <vt:lpstr>Internet for all</vt:lpstr>
      <vt:lpstr>"We'll make sure every single, every single, American has access to high-quality, affordable, high-speed Internet," Biden said during his speech. "When I say affordable, I mean it. Americans pay too much for Internet service. We're going to drive down the price for families who have service now and make it easier for families who don't have affordable service to be able to get it now.” </vt:lpstr>
      <vt:lpstr>The Bipartisan Infrastructure Law is a once-in-a-generation investment in infrastructure and competitiveness</vt:lpstr>
      <vt:lpstr>The Bipartisan Infrastructure Law invests ~$65B to ensure everyone in America has access to high-speed Internet</vt:lpstr>
      <vt:lpstr>High-speed internet helps individuals and our country</vt:lpstr>
      <vt:lpstr>Affordable, reliable, high-speed Internet has remained elusive for too long</vt:lpstr>
      <vt:lpstr>Americans require a range of Internet tools and services to maximize the benefits of high-speed Internet access</vt:lpstr>
      <vt:lpstr>High-speed Internet gives people freedom to live, work, and learn what they want, when they want, where they want</vt:lpstr>
      <vt:lpstr>NTIA will administer ~$48B through four programs that drive high-speed internet access, affordability, and adoption</vt:lpstr>
      <vt:lpstr>BEAD program will provide ~$42.45B for infrastructure planning and implementation</vt:lpstr>
      <vt:lpstr>Digital Equity Act created three programs to promote digital equity and inclusion</vt:lpstr>
      <vt:lpstr>Technical amendments and new funding will strengthen current Tribal Broadband Connectivity Program </vt:lpstr>
      <vt:lpstr>Middle Mile Grant Program will invest in the construction, improvement or acquisition of middle mile infrastructure</vt:lpstr>
      <vt:lpstr>There are many ways stakeholders may get involved in the programs</vt:lpstr>
      <vt:lpstr>Additional resources about the programs</vt:lpstr>
      <vt:lpstr>PowerPoint Presentation</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et for all</dc:title>
  <dc:creator/>
  <cp:lastModifiedBy/>
  <cp:revision>6</cp:revision>
  <dcterms:created xsi:type="dcterms:W3CDTF">2022-05-10T03:04:23Z</dcterms:created>
  <dcterms:modified xsi:type="dcterms:W3CDTF">2022-05-16T20:2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4EB7B4FDF8F84EB6B6FB5CB37FF8F4</vt:lpwstr>
  </property>
</Properties>
</file>